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  <p:sldMasterId id="2147483716" r:id="rId6"/>
  </p:sldMasterIdLst>
  <p:notesMasterIdLst>
    <p:notesMasterId r:id="rId20"/>
  </p:notesMasterIdLst>
  <p:handoutMasterIdLst>
    <p:handoutMasterId r:id="rId21"/>
  </p:handoutMasterIdLst>
  <p:sldIdLst>
    <p:sldId id="260" r:id="rId7"/>
    <p:sldId id="2147482077" r:id="rId8"/>
    <p:sldId id="2147482089" r:id="rId9"/>
    <p:sldId id="2147482080" r:id="rId10"/>
    <p:sldId id="2147482081" r:id="rId11"/>
    <p:sldId id="2147482082" r:id="rId12"/>
    <p:sldId id="2147482083" r:id="rId13"/>
    <p:sldId id="2147482084" r:id="rId14"/>
    <p:sldId id="2147482085" r:id="rId15"/>
    <p:sldId id="2147482086" r:id="rId16"/>
    <p:sldId id="2147482087" r:id="rId17"/>
    <p:sldId id="2147482088" r:id="rId18"/>
    <p:sldId id="214748209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CB9BBA-52A9-0640-AFEE-ADD09386C20E}">
          <p14:sldIdLst>
            <p14:sldId id="260"/>
            <p14:sldId id="2147482077"/>
            <p14:sldId id="2147482089"/>
            <p14:sldId id="2147482080"/>
            <p14:sldId id="2147482081"/>
            <p14:sldId id="2147482082"/>
            <p14:sldId id="2147482083"/>
            <p14:sldId id="2147482084"/>
            <p14:sldId id="2147482085"/>
            <p14:sldId id="2147482086"/>
            <p14:sldId id="2147482087"/>
            <p14:sldId id="2147482088"/>
            <p14:sldId id="214748209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EBEF047-25FE-9AA3-47A6-FD3B1D927639}" name="Obrien, Crystal" initials="CO" userId="S::crystal_obrien@apllogistics.com::aa0845cf-99a0-45c8-87fe-9e49272571a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F60"/>
    <a:srgbClr val="DBD0B1"/>
    <a:srgbClr val="9DDBEC"/>
    <a:srgbClr val="A32B22"/>
    <a:srgbClr val="E1A62D"/>
    <a:srgbClr val="E1A72E"/>
    <a:srgbClr val="A9DBEB"/>
    <a:srgbClr val="212D64"/>
    <a:srgbClr val="002269"/>
    <a:srgbClr val="0E28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B1935C-DEBA-6C4E-87AC-3B21498B3A22}" v="15" dt="2026-02-03T10:38:58.8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70" autoAdjust="0"/>
    <p:restoredTop sz="95890" autoAdjust="0"/>
  </p:normalViewPr>
  <p:slideViewPr>
    <p:cSldViewPr snapToGrid="0">
      <p:cViewPr>
        <p:scale>
          <a:sx n="78" d="100"/>
          <a:sy n="78" d="100"/>
        </p:scale>
        <p:origin x="840" y="1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168"/>
    </p:cViewPr>
  </p:sorterViewPr>
  <p:notesViewPr>
    <p:cSldViewPr snapToGrid="0">
      <p:cViewPr varScale="1">
        <p:scale>
          <a:sx n="107" d="100"/>
          <a:sy n="107" d="100"/>
        </p:scale>
        <p:origin x="411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BlockTimelineDefaultColorVariant">
  <dgm:title val="Block Timeline Default Color Variant"/>
  <dgm:desc val="Block Timeline Default Color Variant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7DE013-2E0B-714C-BE75-D439F732B80C}" type="doc">
      <dgm:prSet loTypeId="urn:microsoft.com/office/officeart/2009/3/layout/HorizontalOrganizationChar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3ADBEE9-F7AD-0440-8BC1-1F9AF8312AA8}">
      <dgm:prSet phldrT="[Text]" custT="1"/>
      <dgm:spPr>
        <a:solidFill>
          <a:srgbClr val="001E60"/>
        </a:solidFill>
      </dgm:spPr>
      <dgm:t>
        <a:bodyPr/>
        <a:lstStyle/>
        <a:p>
          <a:pPr>
            <a:lnSpc>
              <a:spcPts val="1380"/>
            </a:lnSpc>
            <a:spcAft>
              <a:spcPts val="0"/>
            </a:spcAft>
            <a:buNone/>
          </a:pPr>
          <a:endParaRPr lang="en-US" sz="1200" dirty="0"/>
        </a:p>
      </dgm:t>
    </dgm:pt>
    <dgm:pt modelId="{FC92C990-7B60-CD49-8590-1FDF4E407BF3}" type="parTrans" cxnId="{ACE05BF0-06A9-DD41-A65B-D986098C8D2E}">
      <dgm:prSet/>
      <dgm:spPr/>
      <dgm:t>
        <a:bodyPr/>
        <a:lstStyle/>
        <a:p>
          <a:endParaRPr lang="en-US"/>
        </a:p>
      </dgm:t>
    </dgm:pt>
    <dgm:pt modelId="{1A97C7B8-A839-7645-A772-56D1EC7EED1C}" type="sibTrans" cxnId="{ACE05BF0-06A9-DD41-A65B-D986098C8D2E}">
      <dgm:prSet/>
      <dgm:spPr/>
      <dgm:t>
        <a:bodyPr/>
        <a:lstStyle/>
        <a:p>
          <a:endParaRPr lang="en-US"/>
        </a:p>
      </dgm:t>
    </dgm:pt>
    <dgm:pt modelId="{D2654F33-4004-EA49-B45E-11278710649E}">
      <dgm:prSet phldrT="[Text]" custT="1"/>
      <dgm:spPr>
        <a:solidFill>
          <a:srgbClr val="A42C22"/>
        </a:solidFill>
        <a:ln>
          <a:noFill/>
        </a:ln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  <a:buNone/>
          </a:pPr>
          <a:endParaRPr lang="en-US" sz="1200" dirty="0"/>
        </a:p>
      </dgm:t>
    </dgm:pt>
    <dgm:pt modelId="{F24F37E0-696A-9F42-B53B-DA8DE6A54A55}" type="parTrans" cxnId="{A620CCEB-5E19-5543-96C4-78A7B70710B0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D6E349C6-6030-D64B-91F3-9F5F80E825B4}" type="sibTrans" cxnId="{A620CCEB-5E19-5543-96C4-78A7B70710B0}">
      <dgm:prSet/>
      <dgm:spPr/>
      <dgm:t>
        <a:bodyPr/>
        <a:lstStyle/>
        <a:p>
          <a:endParaRPr lang="en-US"/>
        </a:p>
      </dgm:t>
    </dgm:pt>
    <dgm:pt modelId="{4C9FCDF0-57E8-E545-A9C3-CAA987BCC509}">
      <dgm:prSet phldrT="[Text]" custT="1"/>
      <dgm:spPr>
        <a:solidFill>
          <a:srgbClr val="A42C22"/>
        </a:solidFill>
        <a:ln>
          <a:noFill/>
        </a:ln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  <a:buNone/>
          </a:pPr>
          <a:endParaRPr lang="en-US" sz="1200" dirty="0"/>
        </a:p>
      </dgm:t>
    </dgm:pt>
    <dgm:pt modelId="{27066742-33C4-A847-A78C-0C1B1EE69B07}" type="parTrans" cxnId="{A1430290-F030-3249-A469-5F0C73CB0081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F9EF1C59-4FA7-4B44-BF3C-B679CB6ADEBC}" type="sibTrans" cxnId="{A1430290-F030-3249-A469-5F0C73CB0081}">
      <dgm:prSet/>
      <dgm:spPr/>
      <dgm:t>
        <a:bodyPr/>
        <a:lstStyle/>
        <a:p>
          <a:endParaRPr lang="en-US"/>
        </a:p>
      </dgm:t>
    </dgm:pt>
    <dgm:pt modelId="{2E2726C8-F8EF-CF4D-9ACD-547F5D7D15E0}">
      <dgm:prSet phldrT="[Text]" custT="1"/>
      <dgm:spPr>
        <a:solidFill>
          <a:srgbClr val="A42C22"/>
        </a:solidFill>
        <a:ln>
          <a:noFill/>
        </a:ln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  <a:buNone/>
          </a:pPr>
          <a:endParaRPr lang="en-US" sz="1200" dirty="0"/>
        </a:p>
      </dgm:t>
    </dgm:pt>
    <dgm:pt modelId="{F2D80106-BA8A-B246-ACBB-C3CABFBC87DA}" type="parTrans" cxnId="{7A44236A-D820-494C-AF7D-3A45073B471A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C708374A-0764-3845-BA2A-1EE7F4BE4989}" type="sibTrans" cxnId="{7A44236A-D820-494C-AF7D-3A45073B471A}">
      <dgm:prSet/>
      <dgm:spPr/>
      <dgm:t>
        <a:bodyPr/>
        <a:lstStyle/>
        <a:p>
          <a:endParaRPr lang="en-US"/>
        </a:p>
      </dgm:t>
    </dgm:pt>
    <dgm:pt modelId="{9B0800D2-985C-8444-B271-AA6DDFB398EC}">
      <dgm:prSet phldrT="[Text]" custT="1"/>
      <dgm:spPr>
        <a:solidFill>
          <a:srgbClr val="A42C22"/>
        </a:solidFill>
        <a:ln>
          <a:noFill/>
        </a:ln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  <a:buNone/>
          </a:pPr>
          <a:endParaRPr lang="en-US" sz="1200" dirty="0"/>
        </a:p>
      </dgm:t>
    </dgm:pt>
    <dgm:pt modelId="{F62C40F4-229E-5C4F-8859-7929D92AA808}" type="parTrans" cxnId="{D3FE3152-CF36-6546-AAB3-1FDE0E4C3C7D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CCFBD23E-7841-3A41-BE03-D9ED120D884E}" type="sibTrans" cxnId="{D3FE3152-CF36-6546-AAB3-1FDE0E4C3C7D}">
      <dgm:prSet/>
      <dgm:spPr/>
      <dgm:t>
        <a:bodyPr/>
        <a:lstStyle/>
        <a:p>
          <a:endParaRPr lang="en-US"/>
        </a:p>
      </dgm:t>
    </dgm:pt>
    <dgm:pt modelId="{C2A60E94-1BAD-7544-959C-2896709D10CD}">
      <dgm:prSet phldrT="[Text]" custT="1"/>
      <dgm:spPr>
        <a:solidFill>
          <a:srgbClr val="A42C22"/>
        </a:solidFill>
        <a:ln>
          <a:noFill/>
        </a:ln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  <a:buNone/>
          </a:pPr>
          <a:endParaRPr lang="en-US" sz="1200" dirty="0"/>
        </a:p>
      </dgm:t>
    </dgm:pt>
    <dgm:pt modelId="{5097051D-ABB3-5F47-81F5-64E0EDC2F0C5}" type="parTrans" cxnId="{869EC04D-1964-AF4C-90F1-B2A935F4BBF8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0BD88458-6D30-F848-B6F2-9896140185BB}" type="sibTrans" cxnId="{869EC04D-1964-AF4C-90F1-B2A935F4BBF8}">
      <dgm:prSet/>
      <dgm:spPr/>
      <dgm:t>
        <a:bodyPr/>
        <a:lstStyle/>
        <a:p>
          <a:endParaRPr lang="en-US"/>
        </a:p>
      </dgm:t>
    </dgm:pt>
    <dgm:pt modelId="{B5BACE27-CC37-0E4F-BC6F-9C19035D01FF}">
      <dgm:prSet phldrT="[Text]" custT="1"/>
      <dgm:spPr>
        <a:solidFill>
          <a:srgbClr val="A42C22"/>
        </a:solidFill>
        <a:ln>
          <a:noFill/>
        </a:ln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  <a:buNone/>
          </a:pPr>
          <a:endParaRPr lang="en-US" sz="1200" dirty="0"/>
        </a:p>
      </dgm:t>
    </dgm:pt>
    <dgm:pt modelId="{7A7BD404-DB56-7B4D-AC7B-75C3FD8DA787}" type="parTrans" cxnId="{DAF7BA51-84BC-AB4F-85CB-F9FEB51FBA70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5CDD6490-8030-B54A-BF7B-370873797AF3}" type="sibTrans" cxnId="{DAF7BA51-84BC-AB4F-85CB-F9FEB51FBA70}">
      <dgm:prSet/>
      <dgm:spPr/>
      <dgm:t>
        <a:bodyPr/>
        <a:lstStyle/>
        <a:p>
          <a:endParaRPr lang="en-US"/>
        </a:p>
      </dgm:t>
    </dgm:pt>
    <dgm:pt modelId="{20340B9D-F0C2-9B46-A755-51441C1863BB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</a:pPr>
          <a:endParaRPr lang="en-US" sz="1200" b="1" i="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C529D53-C88D-6946-94B4-D397488DFF2B}" type="parTrans" cxnId="{666D5266-611E-4B41-8826-3045634B5770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8E6C80DF-F0BF-AC46-85FD-8C4FE8014B0B}" type="sibTrans" cxnId="{666D5266-611E-4B41-8826-3045634B5770}">
      <dgm:prSet/>
      <dgm:spPr/>
      <dgm:t>
        <a:bodyPr/>
        <a:lstStyle/>
        <a:p>
          <a:endParaRPr lang="en-US"/>
        </a:p>
      </dgm:t>
    </dgm:pt>
    <dgm:pt modelId="{F988C2EF-FE5A-C34F-85A7-8D0E74E4BE05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</a:pPr>
          <a:endParaRPr lang="en-US" sz="1200" dirty="0">
            <a:solidFill>
              <a:srgbClr val="001E60"/>
            </a:solidFill>
          </a:endParaRPr>
        </a:p>
      </dgm:t>
    </dgm:pt>
    <dgm:pt modelId="{06291ECC-775C-4947-8CE1-241E7560A760}" type="parTrans" cxnId="{92F48ACA-4906-DB4B-BF8F-F3EA479D7CDB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3EB3FE99-240B-5241-B212-733DDE5076A6}" type="sibTrans" cxnId="{92F48ACA-4906-DB4B-BF8F-F3EA479D7CDB}">
      <dgm:prSet/>
      <dgm:spPr/>
      <dgm:t>
        <a:bodyPr/>
        <a:lstStyle/>
        <a:p>
          <a:endParaRPr lang="en-US"/>
        </a:p>
      </dgm:t>
    </dgm:pt>
    <dgm:pt modelId="{A9BDEEB9-68C8-5147-881B-1021BDF42299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</a:pPr>
          <a:endParaRPr lang="en-US" sz="1200" b="1" i="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6974827-84EA-7A44-ABC0-DD9BF3779120}" type="parTrans" cxnId="{DFC4A70D-C747-C54C-84A3-9CD8A94986B8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ED068252-0F04-E942-A72C-29391ACE557E}" type="sibTrans" cxnId="{DFC4A70D-C747-C54C-84A3-9CD8A94986B8}">
      <dgm:prSet/>
      <dgm:spPr/>
      <dgm:t>
        <a:bodyPr/>
        <a:lstStyle/>
        <a:p>
          <a:endParaRPr lang="en-US"/>
        </a:p>
      </dgm:t>
    </dgm:pt>
    <dgm:pt modelId="{CDDB9596-A0A7-304E-960A-35A7CB23B677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</a:pPr>
          <a:endParaRPr lang="en-US" sz="1200" dirty="0">
            <a:solidFill>
              <a:srgbClr val="001E60"/>
            </a:solidFill>
          </a:endParaRPr>
        </a:p>
      </dgm:t>
    </dgm:pt>
    <dgm:pt modelId="{7F14FEAE-A48B-7041-8176-20E0D89BDB85}" type="parTrans" cxnId="{E0DC7AE0-1546-0C43-BA5E-E1BDECFF58BE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2F03702A-CF3F-7848-87AF-079EA561D225}" type="sibTrans" cxnId="{E0DC7AE0-1546-0C43-BA5E-E1BDECFF58BE}">
      <dgm:prSet/>
      <dgm:spPr/>
      <dgm:t>
        <a:bodyPr/>
        <a:lstStyle/>
        <a:p>
          <a:endParaRPr lang="en-US"/>
        </a:p>
      </dgm:t>
    </dgm:pt>
    <dgm:pt modelId="{88C36BED-8310-E940-BD52-26C10D304901}">
      <dgm:prSet phldrT="[Text]" custT="1"/>
      <dgm:spPr>
        <a:solidFill>
          <a:srgbClr val="A42C22"/>
        </a:solidFill>
        <a:ln>
          <a:noFill/>
        </a:ln>
      </dgm:spPr>
      <dgm:t>
        <a:bodyPr/>
        <a:lstStyle/>
        <a:p>
          <a:pPr>
            <a:lnSpc>
              <a:spcPts val="1240"/>
            </a:lnSpc>
            <a:spcAft>
              <a:spcPts val="0"/>
            </a:spcAft>
            <a:buNone/>
          </a:pPr>
          <a:endParaRPr lang="en-US" sz="1200" dirty="0"/>
        </a:p>
      </dgm:t>
    </dgm:pt>
    <dgm:pt modelId="{DAD57662-3E6D-F24B-BB5D-184FC8A19E4F}" type="sibTrans" cxnId="{D2C4D4A0-1AFC-CB41-821D-DF20C68EDF81}">
      <dgm:prSet/>
      <dgm:spPr/>
      <dgm:t>
        <a:bodyPr/>
        <a:lstStyle/>
        <a:p>
          <a:endParaRPr lang="en-US"/>
        </a:p>
      </dgm:t>
    </dgm:pt>
    <dgm:pt modelId="{5FD9F46C-12BA-E648-8A4E-E3A323F303D6}" type="parTrans" cxnId="{D2C4D4A0-1AFC-CB41-821D-DF20C68EDF81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B4647226-1E67-F94C-AA7A-F4C117F26AD8}" type="pres">
      <dgm:prSet presAssocID="{AD7DE013-2E0B-714C-BE75-D439F732B80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DEB77DE4-146B-5D41-8CA9-7E60DE734E4C}" type="pres">
      <dgm:prSet presAssocID="{73ADBEE9-F7AD-0440-8BC1-1F9AF8312AA8}" presName="hierRoot1" presStyleCnt="0">
        <dgm:presLayoutVars>
          <dgm:hierBranch val="init"/>
        </dgm:presLayoutVars>
      </dgm:prSet>
      <dgm:spPr/>
    </dgm:pt>
    <dgm:pt modelId="{F507C762-1544-0D4E-BF73-EE6CF11117A7}" type="pres">
      <dgm:prSet presAssocID="{73ADBEE9-F7AD-0440-8BC1-1F9AF8312AA8}" presName="rootComposite1" presStyleCnt="0"/>
      <dgm:spPr/>
    </dgm:pt>
    <dgm:pt modelId="{A3B7A53C-59D8-ED43-85F6-1625E4AA18FB}" type="pres">
      <dgm:prSet presAssocID="{73ADBEE9-F7AD-0440-8BC1-1F9AF8312AA8}" presName="rootText1" presStyleLbl="node0" presStyleIdx="0" presStyleCnt="1">
        <dgm:presLayoutVars>
          <dgm:chPref val="3"/>
        </dgm:presLayoutVars>
      </dgm:prSet>
      <dgm:spPr/>
    </dgm:pt>
    <dgm:pt modelId="{0D62E34B-406D-6F49-8FA1-3F903D425AC7}" type="pres">
      <dgm:prSet presAssocID="{73ADBEE9-F7AD-0440-8BC1-1F9AF8312AA8}" presName="rootConnector1" presStyleLbl="node1" presStyleIdx="0" presStyleCnt="0"/>
      <dgm:spPr/>
    </dgm:pt>
    <dgm:pt modelId="{6891C197-09A1-8D49-9C87-BF7B43AEB391}" type="pres">
      <dgm:prSet presAssocID="{73ADBEE9-F7AD-0440-8BC1-1F9AF8312AA8}" presName="hierChild2" presStyleCnt="0"/>
      <dgm:spPr/>
    </dgm:pt>
    <dgm:pt modelId="{6E287D07-0D9A-9645-991A-D6FF37952DDD}" type="pres">
      <dgm:prSet presAssocID="{5FD9F46C-12BA-E648-8A4E-E3A323F303D6}" presName="Name64" presStyleLbl="parChTrans1D2" presStyleIdx="0" presStyleCnt="7"/>
      <dgm:spPr/>
    </dgm:pt>
    <dgm:pt modelId="{685ECA7F-6E9D-9345-AFFA-39059104D2A5}" type="pres">
      <dgm:prSet presAssocID="{88C36BED-8310-E940-BD52-26C10D304901}" presName="hierRoot2" presStyleCnt="0">
        <dgm:presLayoutVars>
          <dgm:hierBranch val="init"/>
        </dgm:presLayoutVars>
      </dgm:prSet>
      <dgm:spPr/>
    </dgm:pt>
    <dgm:pt modelId="{70EA7B23-47F5-9141-98DF-3CF9E7C4D70A}" type="pres">
      <dgm:prSet presAssocID="{88C36BED-8310-E940-BD52-26C10D304901}" presName="rootComposite" presStyleCnt="0"/>
      <dgm:spPr/>
    </dgm:pt>
    <dgm:pt modelId="{C25B7717-E7EC-344C-B0C3-106C542AB681}" type="pres">
      <dgm:prSet presAssocID="{88C36BED-8310-E940-BD52-26C10D304901}" presName="rootText" presStyleLbl="node2" presStyleIdx="0" presStyleCnt="7">
        <dgm:presLayoutVars>
          <dgm:chPref val="3"/>
        </dgm:presLayoutVars>
      </dgm:prSet>
      <dgm:spPr/>
    </dgm:pt>
    <dgm:pt modelId="{798254A7-28D6-6441-9612-073AADE1E304}" type="pres">
      <dgm:prSet presAssocID="{88C36BED-8310-E940-BD52-26C10D304901}" presName="rootConnector" presStyleLbl="node2" presStyleIdx="0" presStyleCnt="7"/>
      <dgm:spPr/>
    </dgm:pt>
    <dgm:pt modelId="{949689FD-D1AE-F448-B0B4-B1D91BD27AD0}" type="pres">
      <dgm:prSet presAssocID="{88C36BED-8310-E940-BD52-26C10D304901}" presName="hierChild4" presStyleCnt="0"/>
      <dgm:spPr/>
    </dgm:pt>
    <dgm:pt modelId="{D7A9EE13-A876-F34C-8A10-DBE8A5A399D2}" type="pres">
      <dgm:prSet presAssocID="{88C36BED-8310-E940-BD52-26C10D304901}" presName="hierChild5" presStyleCnt="0"/>
      <dgm:spPr/>
    </dgm:pt>
    <dgm:pt modelId="{6BFF9F34-46EE-8D4F-B69F-B4D5B03099F0}" type="pres">
      <dgm:prSet presAssocID="{7A7BD404-DB56-7B4D-AC7B-75C3FD8DA787}" presName="Name64" presStyleLbl="parChTrans1D2" presStyleIdx="1" presStyleCnt="7"/>
      <dgm:spPr/>
    </dgm:pt>
    <dgm:pt modelId="{893F881E-58F9-A24A-81E3-7C67627BEF3F}" type="pres">
      <dgm:prSet presAssocID="{B5BACE27-CC37-0E4F-BC6F-9C19035D01FF}" presName="hierRoot2" presStyleCnt="0">
        <dgm:presLayoutVars>
          <dgm:hierBranch val="init"/>
        </dgm:presLayoutVars>
      </dgm:prSet>
      <dgm:spPr/>
    </dgm:pt>
    <dgm:pt modelId="{B4A356EB-BB3E-7744-9FB4-13AAE18E739D}" type="pres">
      <dgm:prSet presAssocID="{B5BACE27-CC37-0E4F-BC6F-9C19035D01FF}" presName="rootComposite" presStyleCnt="0"/>
      <dgm:spPr/>
    </dgm:pt>
    <dgm:pt modelId="{7AC527E1-CE8C-FD46-9799-FA37531ACC40}" type="pres">
      <dgm:prSet presAssocID="{B5BACE27-CC37-0E4F-BC6F-9C19035D01FF}" presName="rootText" presStyleLbl="node2" presStyleIdx="1" presStyleCnt="7">
        <dgm:presLayoutVars>
          <dgm:chPref val="3"/>
        </dgm:presLayoutVars>
      </dgm:prSet>
      <dgm:spPr/>
    </dgm:pt>
    <dgm:pt modelId="{66C6F74B-AFE0-D74C-8B23-3D34AF8D5990}" type="pres">
      <dgm:prSet presAssocID="{B5BACE27-CC37-0E4F-BC6F-9C19035D01FF}" presName="rootConnector" presStyleLbl="node2" presStyleIdx="1" presStyleCnt="7"/>
      <dgm:spPr/>
    </dgm:pt>
    <dgm:pt modelId="{9475200E-CBEE-3E4F-8A7F-0CDD68AEF094}" type="pres">
      <dgm:prSet presAssocID="{B5BACE27-CC37-0E4F-BC6F-9C19035D01FF}" presName="hierChild4" presStyleCnt="0"/>
      <dgm:spPr/>
    </dgm:pt>
    <dgm:pt modelId="{F4F944E3-106C-424B-A034-05336D71AB7F}" type="pres">
      <dgm:prSet presAssocID="{B5BACE27-CC37-0E4F-BC6F-9C19035D01FF}" presName="hierChild5" presStyleCnt="0"/>
      <dgm:spPr/>
    </dgm:pt>
    <dgm:pt modelId="{E77C3A94-4D51-4A41-8B02-B52620026DC9}" type="pres">
      <dgm:prSet presAssocID="{F2D80106-BA8A-B246-ACBB-C3CABFBC87DA}" presName="Name64" presStyleLbl="parChTrans1D2" presStyleIdx="2" presStyleCnt="7"/>
      <dgm:spPr/>
    </dgm:pt>
    <dgm:pt modelId="{C7E8C8E6-04FA-2A43-BC46-65045244B999}" type="pres">
      <dgm:prSet presAssocID="{2E2726C8-F8EF-CF4D-9ACD-547F5D7D15E0}" presName="hierRoot2" presStyleCnt="0">
        <dgm:presLayoutVars>
          <dgm:hierBranch val="init"/>
        </dgm:presLayoutVars>
      </dgm:prSet>
      <dgm:spPr/>
    </dgm:pt>
    <dgm:pt modelId="{D2798A73-D46C-2A49-B96E-3F3EB16469AB}" type="pres">
      <dgm:prSet presAssocID="{2E2726C8-F8EF-CF4D-9ACD-547F5D7D15E0}" presName="rootComposite" presStyleCnt="0"/>
      <dgm:spPr/>
    </dgm:pt>
    <dgm:pt modelId="{5EDF934A-5180-9447-BA89-C77FDFE081B1}" type="pres">
      <dgm:prSet presAssocID="{2E2726C8-F8EF-CF4D-9ACD-547F5D7D15E0}" presName="rootText" presStyleLbl="node2" presStyleIdx="2" presStyleCnt="7">
        <dgm:presLayoutVars>
          <dgm:chPref val="3"/>
        </dgm:presLayoutVars>
      </dgm:prSet>
      <dgm:spPr/>
    </dgm:pt>
    <dgm:pt modelId="{3301F485-A164-CC4A-9D18-66621B27AD37}" type="pres">
      <dgm:prSet presAssocID="{2E2726C8-F8EF-CF4D-9ACD-547F5D7D15E0}" presName="rootConnector" presStyleLbl="node2" presStyleIdx="2" presStyleCnt="7"/>
      <dgm:spPr/>
    </dgm:pt>
    <dgm:pt modelId="{34C1026F-E330-F14D-8DCD-CE66C132E2B9}" type="pres">
      <dgm:prSet presAssocID="{2E2726C8-F8EF-CF4D-9ACD-547F5D7D15E0}" presName="hierChild4" presStyleCnt="0"/>
      <dgm:spPr/>
    </dgm:pt>
    <dgm:pt modelId="{29AB4DED-39BD-1D4C-900D-56C59C038C61}" type="pres">
      <dgm:prSet presAssocID="{5C529D53-C88D-6946-94B4-D397488DFF2B}" presName="Name64" presStyleLbl="parChTrans1D3" presStyleIdx="0" presStyleCnt="4"/>
      <dgm:spPr/>
    </dgm:pt>
    <dgm:pt modelId="{6A1DCD42-6FBD-9B49-BF85-251459445B8B}" type="pres">
      <dgm:prSet presAssocID="{20340B9D-F0C2-9B46-A755-51441C1863BB}" presName="hierRoot2" presStyleCnt="0">
        <dgm:presLayoutVars>
          <dgm:hierBranch val="init"/>
        </dgm:presLayoutVars>
      </dgm:prSet>
      <dgm:spPr/>
    </dgm:pt>
    <dgm:pt modelId="{4A86F3C1-84BE-5346-AA33-DF42D6542C9D}" type="pres">
      <dgm:prSet presAssocID="{20340B9D-F0C2-9B46-A755-51441C1863BB}" presName="rootComposite" presStyleCnt="0"/>
      <dgm:spPr/>
    </dgm:pt>
    <dgm:pt modelId="{95E6837A-7B66-8548-B97F-41BB7787935B}" type="pres">
      <dgm:prSet presAssocID="{20340B9D-F0C2-9B46-A755-51441C1863BB}" presName="rootText" presStyleLbl="node3" presStyleIdx="0" presStyleCnt="4">
        <dgm:presLayoutVars>
          <dgm:chPref val="3"/>
        </dgm:presLayoutVars>
      </dgm:prSet>
      <dgm:spPr/>
    </dgm:pt>
    <dgm:pt modelId="{C4BB05E6-6E80-1E4C-B22E-F1436D025FF1}" type="pres">
      <dgm:prSet presAssocID="{20340B9D-F0C2-9B46-A755-51441C1863BB}" presName="rootConnector" presStyleLbl="node3" presStyleIdx="0" presStyleCnt="4"/>
      <dgm:spPr/>
    </dgm:pt>
    <dgm:pt modelId="{8B1DCB79-D469-954D-BFDB-AD3EF5A246A2}" type="pres">
      <dgm:prSet presAssocID="{20340B9D-F0C2-9B46-A755-51441C1863BB}" presName="hierChild4" presStyleCnt="0"/>
      <dgm:spPr/>
    </dgm:pt>
    <dgm:pt modelId="{1C1A271F-51EC-5D4F-B748-427B62537187}" type="pres">
      <dgm:prSet presAssocID="{20340B9D-F0C2-9B46-A755-51441C1863BB}" presName="hierChild5" presStyleCnt="0"/>
      <dgm:spPr/>
    </dgm:pt>
    <dgm:pt modelId="{88F37CE0-EA8E-ED4C-8184-A3DB32BF259E}" type="pres">
      <dgm:prSet presAssocID="{06291ECC-775C-4947-8CE1-241E7560A760}" presName="Name64" presStyleLbl="parChTrans1D3" presStyleIdx="1" presStyleCnt="4"/>
      <dgm:spPr/>
    </dgm:pt>
    <dgm:pt modelId="{E87BE34D-69D2-9A45-B370-40666D95F0B7}" type="pres">
      <dgm:prSet presAssocID="{F988C2EF-FE5A-C34F-85A7-8D0E74E4BE05}" presName="hierRoot2" presStyleCnt="0">
        <dgm:presLayoutVars>
          <dgm:hierBranch val="init"/>
        </dgm:presLayoutVars>
      </dgm:prSet>
      <dgm:spPr/>
    </dgm:pt>
    <dgm:pt modelId="{CE96809E-55E0-D34E-8EE2-A9C79060B043}" type="pres">
      <dgm:prSet presAssocID="{F988C2EF-FE5A-C34F-85A7-8D0E74E4BE05}" presName="rootComposite" presStyleCnt="0"/>
      <dgm:spPr/>
    </dgm:pt>
    <dgm:pt modelId="{CA9E075C-06FD-1A4E-8B3B-95CFBF82D487}" type="pres">
      <dgm:prSet presAssocID="{F988C2EF-FE5A-C34F-85A7-8D0E74E4BE05}" presName="rootText" presStyleLbl="node3" presStyleIdx="1" presStyleCnt="4">
        <dgm:presLayoutVars>
          <dgm:chPref val="3"/>
        </dgm:presLayoutVars>
      </dgm:prSet>
      <dgm:spPr/>
    </dgm:pt>
    <dgm:pt modelId="{B8C63690-F6ED-2C4A-B226-F16B043134B9}" type="pres">
      <dgm:prSet presAssocID="{F988C2EF-FE5A-C34F-85A7-8D0E74E4BE05}" presName="rootConnector" presStyleLbl="node3" presStyleIdx="1" presStyleCnt="4"/>
      <dgm:spPr/>
    </dgm:pt>
    <dgm:pt modelId="{9D75ABD7-7303-6E47-A555-8E5097DD0F8E}" type="pres">
      <dgm:prSet presAssocID="{F988C2EF-FE5A-C34F-85A7-8D0E74E4BE05}" presName="hierChild4" presStyleCnt="0"/>
      <dgm:spPr/>
    </dgm:pt>
    <dgm:pt modelId="{242A883C-55C1-0740-BEF3-9227A3ACB16A}" type="pres">
      <dgm:prSet presAssocID="{F988C2EF-FE5A-C34F-85A7-8D0E74E4BE05}" presName="hierChild5" presStyleCnt="0"/>
      <dgm:spPr/>
    </dgm:pt>
    <dgm:pt modelId="{12A7C50F-FBFA-7A4C-B0C2-25C93F5F2D75}" type="pres">
      <dgm:prSet presAssocID="{2E2726C8-F8EF-CF4D-9ACD-547F5D7D15E0}" presName="hierChild5" presStyleCnt="0"/>
      <dgm:spPr/>
    </dgm:pt>
    <dgm:pt modelId="{B49CB8A1-69FF-6E49-985B-319088E7164C}" type="pres">
      <dgm:prSet presAssocID="{F62C40F4-229E-5C4F-8859-7929D92AA808}" presName="Name64" presStyleLbl="parChTrans1D2" presStyleIdx="3" presStyleCnt="7"/>
      <dgm:spPr/>
    </dgm:pt>
    <dgm:pt modelId="{05FA53AD-7B3A-8E44-BCBC-5FA288950A9E}" type="pres">
      <dgm:prSet presAssocID="{9B0800D2-985C-8444-B271-AA6DDFB398EC}" presName="hierRoot2" presStyleCnt="0">
        <dgm:presLayoutVars>
          <dgm:hierBranch val="init"/>
        </dgm:presLayoutVars>
      </dgm:prSet>
      <dgm:spPr/>
    </dgm:pt>
    <dgm:pt modelId="{34F000C7-7AAF-CC48-BDC1-A42ED6508A4E}" type="pres">
      <dgm:prSet presAssocID="{9B0800D2-985C-8444-B271-AA6DDFB398EC}" presName="rootComposite" presStyleCnt="0"/>
      <dgm:spPr/>
    </dgm:pt>
    <dgm:pt modelId="{17560603-6AF9-EC49-BABD-4A100DC62357}" type="pres">
      <dgm:prSet presAssocID="{9B0800D2-985C-8444-B271-AA6DDFB398EC}" presName="rootText" presStyleLbl="node2" presStyleIdx="3" presStyleCnt="7">
        <dgm:presLayoutVars>
          <dgm:chPref val="3"/>
        </dgm:presLayoutVars>
      </dgm:prSet>
      <dgm:spPr/>
    </dgm:pt>
    <dgm:pt modelId="{B0D77BAA-C7EE-8C4A-9027-11470E2BBCB3}" type="pres">
      <dgm:prSet presAssocID="{9B0800D2-985C-8444-B271-AA6DDFB398EC}" presName="rootConnector" presStyleLbl="node2" presStyleIdx="3" presStyleCnt="7"/>
      <dgm:spPr/>
    </dgm:pt>
    <dgm:pt modelId="{DD4E0CB8-DB9F-C04D-B100-56D191ACEFD1}" type="pres">
      <dgm:prSet presAssocID="{9B0800D2-985C-8444-B271-AA6DDFB398EC}" presName="hierChild4" presStyleCnt="0"/>
      <dgm:spPr/>
    </dgm:pt>
    <dgm:pt modelId="{BF01333B-4028-004A-8836-9024E230D480}" type="pres">
      <dgm:prSet presAssocID="{9B0800D2-985C-8444-B271-AA6DDFB398EC}" presName="hierChild5" presStyleCnt="0"/>
      <dgm:spPr/>
    </dgm:pt>
    <dgm:pt modelId="{74400A3B-D6B7-7845-9369-773C8709F47F}" type="pres">
      <dgm:prSet presAssocID="{5097051D-ABB3-5F47-81F5-64E0EDC2F0C5}" presName="Name64" presStyleLbl="parChTrans1D2" presStyleIdx="4" presStyleCnt="7"/>
      <dgm:spPr/>
    </dgm:pt>
    <dgm:pt modelId="{15555545-8041-764D-88C1-C6271AD23748}" type="pres">
      <dgm:prSet presAssocID="{C2A60E94-1BAD-7544-959C-2896709D10CD}" presName="hierRoot2" presStyleCnt="0">
        <dgm:presLayoutVars>
          <dgm:hierBranch val="init"/>
        </dgm:presLayoutVars>
      </dgm:prSet>
      <dgm:spPr/>
    </dgm:pt>
    <dgm:pt modelId="{878968A0-327A-3E4D-9711-A836EF16AB55}" type="pres">
      <dgm:prSet presAssocID="{C2A60E94-1BAD-7544-959C-2896709D10CD}" presName="rootComposite" presStyleCnt="0"/>
      <dgm:spPr/>
    </dgm:pt>
    <dgm:pt modelId="{13609F6B-CF32-754E-BE01-D8544AD7CA59}" type="pres">
      <dgm:prSet presAssocID="{C2A60E94-1BAD-7544-959C-2896709D10CD}" presName="rootText" presStyleLbl="node2" presStyleIdx="4" presStyleCnt="7">
        <dgm:presLayoutVars>
          <dgm:chPref val="3"/>
        </dgm:presLayoutVars>
      </dgm:prSet>
      <dgm:spPr/>
    </dgm:pt>
    <dgm:pt modelId="{8BA7D82B-A297-CC42-9979-D57AD99C90AF}" type="pres">
      <dgm:prSet presAssocID="{C2A60E94-1BAD-7544-959C-2896709D10CD}" presName="rootConnector" presStyleLbl="node2" presStyleIdx="4" presStyleCnt="7"/>
      <dgm:spPr/>
    </dgm:pt>
    <dgm:pt modelId="{313B2F38-0793-7D4C-9A7B-E8A0ABC06A3D}" type="pres">
      <dgm:prSet presAssocID="{C2A60E94-1BAD-7544-959C-2896709D10CD}" presName="hierChild4" presStyleCnt="0"/>
      <dgm:spPr/>
    </dgm:pt>
    <dgm:pt modelId="{B883BD18-8EA9-5446-A8E3-E2E9D01DBEFE}" type="pres">
      <dgm:prSet presAssocID="{C2A60E94-1BAD-7544-959C-2896709D10CD}" presName="hierChild5" presStyleCnt="0"/>
      <dgm:spPr/>
    </dgm:pt>
    <dgm:pt modelId="{A72CDA00-70DE-F144-BA06-C3EF53AE94EA}" type="pres">
      <dgm:prSet presAssocID="{F24F37E0-696A-9F42-B53B-DA8DE6A54A55}" presName="Name64" presStyleLbl="parChTrans1D2" presStyleIdx="5" presStyleCnt="7"/>
      <dgm:spPr/>
    </dgm:pt>
    <dgm:pt modelId="{A15252C0-CA2F-1843-82CE-F0DBA1DA9788}" type="pres">
      <dgm:prSet presAssocID="{D2654F33-4004-EA49-B45E-11278710649E}" presName="hierRoot2" presStyleCnt="0">
        <dgm:presLayoutVars>
          <dgm:hierBranch val="init"/>
        </dgm:presLayoutVars>
      </dgm:prSet>
      <dgm:spPr/>
    </dgm:pt>
    <dgm:pt modelId="{096931E0-B908-C94B-8ED5-F46BDC4A4AAA}" type="pres">
      <dgm:prSet presAssocID="{D2654F33-4004-EA49-B45E-11278710649E}" presName="rootComposite" presStyleCnt="0"/>
      <dgm:spPr/>
    </dgm:pt>
    <dgm:pt modelId="{BF6B326C-A2A0-BC4B-A6EA-78584A57DF06}" type="pres">
      <dgm:prSet presAssocID="{D2654F33-4004-EA49-B45E-11278710649E}" presName="rootText" presStyleLbl="node2" presStyleIdx="5" presStyleCnt="7">
        <dgm:presLayoutVars>
          <dgm:chPref val="3"/>
        </dgm:presLayoutVars>
      </dgm:prSet>
      <dgm:spPr/>
    </dgm:pt>
    <dgm:pt modelId="{3915E29C-9B77-FF4E-92C4-E663D60F8DA5}" type="pres">
      <dgm:prSet presAssocID="{D2654F33-4004-EA49-B45E-11278710649E}" presName="rootConnector" presStyleLbl="node2" presStyleIdx="5" presStyleCnt="7"/>
      <dgm:spPr/>
    </dgm:pt>
    <dgm:pt modelId="{C787E5A1-4127-B743-9E55-DC56E96E62BD}" type="pres">
      <dgm:prSet presAssocID="{D2654F33-4004-EA49-B45E-11278710649E}" presName="hierChild4" presStyleCnt="0"/>
      <dgm:spPr/>
    </dgm:pt>
    <dgm:pt modelId="{D4A5A901-ED69-AA43-92EA-F9A0352BDD02}" type="pres">
      <dgm:prSet presAssocID="{D2654F33-4004-EA49-B45E-11278710649E}" presName="hierChild5" presStyleCnt="0"/>
      <dgm:spPr/>
    </dgm:pt>
    <dgm:pt modelId="{B37F133D-6E22-6340-991E-444DE3FF09B1}" type="pres">
      <dgm:prSet presAssocID="{27066742-33C4-A847-A78C-0C1B1EE69B07}" presName="Name64" presStyleLbl="parChTrans1D2" presStyleIdx="6" presStyleCnt="7"/>
      <dgm:spPr/>
    </dgm:pt>
    <dgm:pt modelId="{08B8F3CF-B2D5-EC46-89BA-44359AACD2BB}" type="pres">
      <dgm:prSet presAssocID="{4C9FCDF0-57E8-E545-A9C3-CAA987BCC509}" presName="hierRoot2" presStyleCnt="0">
        <dgm:presLayoutVars>
          <dgm:hierBranch val="init"/>
        </dgm:presLayoutVars>
      </dgm:prSet>
      <dgm:spPr/>
    </dgm:pt>
    <dgm:pt modelId="{002DF696-0B04-A349-853A-4C7B92E61143}" type="pres">
      <dgm:prSet presAssocID="{4C9FCDF0-57E8-E545-A9C3-CAA987BCC509}" presName="rootComposite" presStyleCnt="0"/>
      <dgm:spPr/>
    </dgm:pt>
    <dgm:pt modelId="{BC689DF6-5924-B34D-8D15-2BD0AC03EAA6}" type="pres">
      <dgm:prSet presAssocID="{4C9FCDF0-57E8-E545-A9C3-CAA987BCC509}" presName="rootText" presStyleLbl="node2" presStyleIdx="6" presStyleCnt="7">
        <dgm:presLayoutVars>
          <dgm:chPref val="3"/>
        </dgm:presLayoutVars>
      </dgm:prSet>
      <dgm:spPr/>
    </dgm:pt>
    <dgm:pt modelId="{6EB1A433-5469-5340-A1F6-BEB6012F47D3}" type="pres">
      <dgm:prSet presAssocID="{4C9FCDF0-57E8-E545-A9C3-CAA987BCC509}" presName="rootConnector" presStyleLbl="node2" presStyleIdx="6" presStyleCnt="7"/>
      <dgm:spPr/>
    </dgm:pt>
    <dgm:pt modelId="{5D0AA41A-417B-A942-B876-423BC2DC4B20}" type="pres">
      <dgm:prSet presAssocID="{4C9FCDF0-57E8-E545-A9C3-CAA987BCC509}" presName="hierChild4" presStyleCnt="0"/>
      <dgm:spPr/>
    </dgm:pt>
    <dgm:pt modelId="{7598D865-E816-854E-B4E9-0943E3C580E6}" type="pres">
      <dgm:prSet presAssocID="{C6974827-84EA-7A44-ABC0-DD9BF3779120}" presName="Name64" presStyleLbl="parChTrans1D3" presStyleIdx="2" presStyleCnt="4"/>
      <dgm:spPr/>
    </dgm:pt>
    <dgm:pt modelId="{C8D7AB52-60D8-1440-82D2-F83B6267D5FC}" type="pres">
      <dgm:prSet presAssocID="{A9BDEEB9-68C8-5147-881B-1021BDF42299}" presName="hierRoot2" presStyleCnt="0">
        <dgm:presLayoutVars>
          <dgm:hierBranch val="init"/>
        </dgm:presLayoutVars>
      </dgm:prSet>
      <dgm:spPr/>
    </dgm:pt>
    <dgm:pt modelId="{D92816AF-D0BA-4C45-8ED1-8CA7CEE29215}" type="pres">
      <dgm:prSet presAssocID="{A9BDEEB9-68C8-5147-881B-1021BDF42299}" presName="rootComposite" presStyleCnt="0"/>
      <dgm:spPr/>
    </dgm:pt>
    <dgm:pt modelId="{692E4B00-DFE1-2E40-83E7-A38A1B9D6243}" type="pres">
      <dgm:prSet presAssocID="{A9BDEEB9-68C8-5147-881B-1021BDF42299}" presName="rootText" presStyleLbl="node3" presStyleIdx="2" presStyleCnt="4">
        <dgm:presLayoutVars>
          <dgm:chPref val="3"/>
        </dgm:presLayoutVars>
      </dgm:prSet>
      <dgm:spPr/>
    </dgm:pt>
    <dgm:pt modelId="{023BC653-58E7-A140-80DA-E2BE97C2A335}" type="pres">
      <dgm:prSet presAssocID="{A9BDEEB9-68C8-5147-881B-1021BDF42299}" presName="rootConnector" presStyleLbl="node3" presStyleIdx="2" presStyleCnt="4"/>
      <dgm:spPr/>
    </dgm:pt>
    <dgm:pt modelId="{2BD12E22-26AD-7343-BC53-AA805763CEA1}" type="pres">
      <dgm:prSet presAssocID="{A9BDEEB9-68C8-5147-881B-1021BDF42299}" presName="hierChild4" presStyleCnt="0"/>
      <dgm:spPr/>
    </dgm:pt>
    <dgm:pt modelId="{C8954283-76AD-A54F-B9BC-A465E8975E71}" type="pres">
      <dgm:prSet presAssocID="{A9BDEEB9-68C8-5147-881B-1021BDF42299}" presName="hierChild5" presStyleCnt="0"/>
      <dgm:spPr/>
    </dgm:pt>
    <dgm:pt modelId="{E9388CE0-6325-DC47-BF8E-8D1EA2A9603E}" type="pres">
      <dgm:prSet presAssocID="{7F14FEAE-A48B-7041-8176-20E0D89BDB85}" presName="Name64" presStyleLbl="parChTrans1D3" presStyleIdx="3" presStyleCnt="4"/>
      <dgm:spPr/>
    </dgm:pt>
    <dgm:pt modelId="{3CBBE9B5-1841-5340-936F-EC7113D7F97F}" type="pres">
      <dgm:prSet presAssocID="{CDDB9596-A0A7-304E-960A-35A7CB23B677}" presName="hierRoot2" presStyleCnt="0">
        <dgm:presLayoutVars>
          <dgm:hierBranch val="init"/>
        </dgm:presLayoutVars>
      </dgm:prSet>
      <dgm:spPr/>
    </dgm:pt>
    <dgm:pt modelId="{797DF901-5A56-8449-A982-8A2220D78401}" type="pres">
      <dgm:prSet presAssocID="{CDDB9596-A0A7-304E-960A-35A7CB23B677}" presName="rootComposite" presStyleCnt="0"/>
      <dgm:spPr/>
    </dgm:pt>
    <dgm:pt modelId="{5E65623A-A7BD-C646-9F46-F81DEC3D93DE}" type="pres">
      <dgm:prSet presAssocID="{CDDB9596-A0A7-304E-960A-35A7CB23B677}" presName="rootText" presStyleLbl="node3" presStyleIdx="3" presStyleCnt="4" custLinFactNeighborY="-1925">
        <dgm:presLayoutVars>
          <dgm:chPref val="3"/>
        </dgm:presLayoutVars>
      </dgm:prSet>
      <dgm:spPr/>
    </dgm:pt>
    <dgm:pt modelId="{AC466CEB-6505-4548-844B-44A064AA089E}" type="pres">
      <dgm:prSet presAssocID="{CDDB9596-A0A7-304E-960A-35A7CB23B677}" presName="rootConnector" presStyleLbl="node3" presStyleIdx="3" presStyleCnt="4"/>
      <dgm:spPr/>
    </dgm:pt>
    <dgm:pt modelId="{763AF7FC-C8DC-A247-B3AD-9D0F6A162A5D}" type="pres">
      <dgm:prSet presAssocID="{CDDB9596-A0A7-304E-960A-35A7CB23B677}" presName="hierChild4" presStyleCnt="0"/>
      <dgm:spPr/>
    </dgm:pt>
    <dgm:pt modelId="{FEE01CC6-25DD-594A-864D-0F49C2B1F072}" type="pres">
      <dgm:prSet presAssocID="{CDDB9596-A0A7-304E-960A-35A7CB23B677}" presName="hierChild5" presStyleCnt="0"/>
      <dgm:spPr/>
    </dgm:pt>
    <dgm:pt modelId="{12763EED-A6CE-4E46-858E-EBBE89E5D7A8}" type="pres">
      <dgm:prSet presAssocID="{4C9FCDF0-57E8-E545-A9C3-CAA987BCC509}" presName="hierChild5" presStyleCnt="0"/>
      <dgm:spPr/>
    </dgm:pt>
    <dgm:pt modelId="{6A89ECF4-A72A-7148-B6F5-A1A6DD4313CE}" type="pres">
      <dgm:prSet presAssocID="{73ADBEE9-F7AD-0440-8BC1-1F9AF8312AA8}" presName="hierChild3" presStyleCnt="0"/>
      <dgm:spPr/>
    </dgm:pt>
  </dgm:ptLst>
  <dgm:cxnLst>
    <dgm:cxn modelId="{C5280A03-6299-8A4E-AC1D-0D815E4BE707}" type="presOf" srcId="{CDDB9596-A0A7-304E-960A-35A7CB23B677}" destId="{5E65623A-A7BD-C646-9F46-F81DEC3D93DE}" srcOrd="0" destOrd="0" presId="urn:microsoft.com/office/officeart/2009/3/layout/HorizontalOrganizationChart"/>
    <dgm:cxn modelId="{DFC4A70D-C747-C54C-84A3-9CD8A94986B8}" srcId="{4C9FCDF0-57E8-E545-A9C3-CAA987BCC509}" destId="{A9BDEEB9-68C8-5147-881B-1021BDF42299}" srcOrd="0" destOrd="0" parTransId="{C6974827-84EA-7A44-ABC0-DD9BF3779120}" sibTransId="{ED068252-0F04-E942-A72C-29391ACE557E}"/>
    <dgm:cxn modelId="{53B12619-7665-C64E-AC7D-421CF505EB9E}" type="presOf" srcId="{A9BDEEB9-68C8-5147-881B-1021BDF42299}" destId="{023BC653-58E7-A140-80DA-E2BE97C2A335}" srcOrd="1" destOrd="0" presId="urn:microsoft.com/office/officeart/2009/3/layout/HorizontalOrganizationChart"/>
    <dgm:cxn modelId="{75F56921-2F09-664B-86B5-BE38285E45E7}" type="presOf" srcId="{4C9FCDF0-57E8-E545-A9C3-CAA987BCC509}" destId="{6EB1A433-5469-5340-A1F6-BEB6012F47D3}" srcOrd="1" destOrd="0" presId="urn:microsoft.com/office/officeart/2009/3/layout/HorizontalOrganizationChart"/>
    <dgm:cxn modelId="{8520112D-2228-694A-AB0F-5D4A0233149A}" type="presOf" srcId="{9B0800D2-985C-8444-B271-AA6DDFB398EC}" destId="{B0D77BAA-C7EE-8C4A-9027-11470E2BBCB3}" srcOrd="1" destOrd="0" presId="urn:microsoft.com/office/officeart/2009/3/layout/HorizontalOrganizationChart"/>
    <dgm:cxn modelId="{DCBF5031-A263-7245-AEBC-B0EF6EDBBD33}" type="presOf" srcId="{27066742-33C4-A847-A78C-0C1B1EE69B07}" destId="{B37F133D-6E22-6340-991E-444DE3FF09B1}" srcOrd="0" destOrd="0" presId="urn:microsoft.com/office/officeart/2009/3/layout/HorizontalOrganizationChart"/>
    <dgm:cxn modelId="{BEE6D031-E92F-C043-89CF-42F0282A261B}" type="presOf" srcId="{D2654F33-4004-EA49-B45E-11278710649E}" destId="{BF6B326C-A2A0-BC4B-A6EA-78584A57DF06}" srcOrd="0" destOrd="0" presId="urn:microsoft.com/office/officeart/2009/3/layout/HorizontalOrganizationChart"/>
    <dgm:cxn modelId="{74A05438-6FC7-3B47-948B-09E276A3F939}" type="presOf" srcId="{F988C2EF-FE5A-C34F-85A7-8D0E74E4BE05}" destId="{CA9E075C-06FD-1A4E-8B3B-95CFBF82D487}" srcOrd="0" destOrd="0" presId="urn:microsoft.com/office/officeart/2009/3/layout/HorizontalOrganizationChart"/>
    <dgm:cxn modelId="{2C2AA93E-BD83-7B4C-8B26-FE64B08D9EDB}" type="presOf" srcId="{06291ECC-775C-4947-8CE1-241E7560A760}" destId="{88F37CE0-EA8E-ED4C-8184-A3DB32BF259E}" srcOrd="0" destOrd="0" presId="urn:microsoft.com/office/officeart/2009/3/layout/HorizontalOrganizationChart"/>
    <dgm:cxn modelId="{7076AB5E-9EE2-CE45-B61A-5070621F4BF7}" type="presOf" srcId="{F62C40F4-229E-5C4F-8859-7929D92AA808}" destId="{B49CB8A1-69FF-6E49-985B-319088E7164C}" srcOrd="0" destOrd="0" presId="urn:microsoft.com/office/officeart/2009/3/layout/HorizontalOrganizationChart"/>
    <dgm:cxn modelId="{666D5266-611E-4B41-8826-3045634B5770}" srcId="{2E2726C8-F8EF-CF4D-9ACD-547F5D7D15E0}" destId="{20340B9D-F0C2-9B46-A755-51441C1863BB}" srcOrd="0" destOrd="0" parTransId="{5C529D53-C88D-6946-94B4-D397488DFF2B}" sibTransId="{8E6C80DF-F0BF-AC46-85FD-8C4FE8014B0B}"/>
    <dgm:cxn modelId="{7A44236A-D820-494C-AF7D-3A45073B471A}" srcId="{73ADBEE9-F7AD-0440-8BC1-1F9AF8312AA8}" destId="{2E2726C8-F8EF-CF4D-9ACD-547F5D7D15E0}" srcOrd="2" destOrd="0" parTransId="{F2D80106-BA8A-B246-ACBB-C3CABFBC87DA}" sibTransId="{C708374A-0764-3845-BA2A-1EE7F4BE4989}"/>
    <dgm:cxn modelId="{869EC04D-1964-AF4C-90F1-B2A935F4BBF8}" srcId="{73ADBEE9-F7AD-0440-8BC1-1F9AF8312AA8}" destId="{C2A60E94-1BAD-7544-959C-2896709D10CD}" srcOrd="4" destOrd="0" parTransId="{5097051D-ABB3-5F47-81F5-64E0EDC2F0C5}" sibTransId="{0BD88458-6D30-F848-B6F2-9896140185BB}"/>
    <dgm:cxn modelId="{A3BF836E-404B-794D-9D6F-B0EFF92374AC}" type="presOf" srcId="{B5BACE27-CC37-0E4F-BC6F-9C19035D01FF}" destId="{66C6F74B-AFE0-D74C-8B23-3D34AF8D5990}" srcOrd="1" destOrd="0" presId="urn:microsoft.com/office/officeart/2009/3/layout/HorizontalOrganizationChart"/>
    <dgm:cxn modelId="{18057870-4BB7-7D46-8876-2A11AEAEA5D3}" type="presOf" srcId="{F2D80106-BA8A-B246-ACBB-C3CABFBC87DA}" destId="{E77C3A94-4D51-4A41-8B02-B52620026DC9}" srcOrd="0" destOrd="0" presId="urn:microsoft.com/office/officeart/2009/3/layout/HorizontalOrganizationChart"/>
    <dgm:cxn modelId="{D3C5D470-585D-CC4A-962C-D6F1ADACC0E7}" type="presOf" srcId="{88C36BED-8310-E940-BD52-26C10D304901}" destId="{C25B7717-E7EC-344C-B0C3-106C542AB681}" srcOrd="0" destOrd="0" presId="urn:microsoft.com/office/officeart/2009/3/layout/HorizontalOrganizationChart"/>
    <dgm:cxn modelId="{69068571-E39B-FD46-BB8A-5FBCB30D0EF4}" type="presOf" srcId="{F24F37E0-696A-9F42-B53B-DA8DE6A54A55}" destId="{A72CDA00-70DE-F144-BA06-C3EF53AE94EA}" srcOrd="0" destOrd="0" presId="urn:microsoft.com/office/officeart/2009/3/layout/HorizontalOrganizationChart"/>
    <dgm:cxn modelId="{DAF7BA51-84BC-AB4F-85CB-F9FEB51FBA70}" srcId="{73ADBEE9-F7AD-0440-8BC1-1F9AF8312AA8}" destId="{B5BACE27-CC37-0E4F-BC6F-9C19035D01FF}" srcOrd="1" destOrd="0" parTransId="{7A7BD404-DB56-7B4D-AC7B-75C3FD8DA787}" sibTransId="{5CDD6490-8030-B54A-BF7B-370873797AF3}"/>
    <dgm:cxn modelId="{D3FE3152-CF36-6546-AAB3-1FDE0E4C3C7D}" srcId="{73ADBEE9-F7AD-0440-8BC1-1F9AF8312AA8}" destId="{9B0800D2-985C-8444-B271-AA6DDFB398EC}" srcOrd="3" destOrd="0" parTransId="{F62C40F4-229E-5C4F-8859-7929D92AA808}" sibTransId="{CCFBD23E-7841-3A41-BE03-D9ED120D884E}"/>
    <dgm:cxn modelId="{7A3C6577-52AF-6345-A4DE-801EFF0D93AF}" type="presOf" srcId="{AD7DE013-2E0B-714C-BE75-D439F732B80C}" destId="{B4647226-1E67-F94C-AA7A-F4C117F26AD8}" srcOrd="0" destOrd="0" presId="urn:microsoft.com/office/officeart/2009/3/layout/HorizontalOrganizationChart"/>
    <dgm:cxn modelId="{1353588E-2D33-E64B-8499-C23F606DA433}" type="presOf" srcId="{C2A60E94-1BAD-7544-959C-2896709D10CD}" destId="{13609F6B-CF32-754E-BE01-D8544AD7CA59}" srcOrd="0" destOrd="0" presId="urn:microsoft.com/office/officeart/2009/3/layout/HorizontalOrganizationChart"/>
    <dgm:cxn modelId="{A1430290-F030-3249-A469-5F0C73CB0081}" srcId="{73ADBEE9-F7AD-0440-8BC1-1F9AF8312AA8}" destId="{4C9FCDF0-57E8-E545-A9C3-CAA987BCC509}" srcOrd="6" destOrd="0" parTransId="{27066742-33C4-A847-A78C-0C1B1EE69B07}" sibTransId="{F9EF1C59-4FA7-4B44-BF3C-B679CB6ADEBC}"/>
    <dgm:cxn modelId="{6EFF0996-EFDD-A847-817A-AAB9A2137F68}" type="presOf" srcId="{C2A60E94-1BAD-7544-959C-2896709D10CD}" destId="{8BA7D82B-A297-CC42-9979-D57AD99C90AF}" srcOrd="1" destOrd="0" presId="urn:microsoft.com/office/officeart/2009/3/layout/HorizontalOrganizationChart"/>
    <dgm:cxn modelId="{9AC78C9A-08AF-8A40-AA95-BEA433DDB880}" type="presOf" srcId="{7A7BD404-DB56-7B4D-AC7B-75C3FD8DA787}" destId="{6BFF9F34-46EE-8D4F-B69F-B4D5B03099F0}" srcOrd="0" destOrd="0" presId="urn:microsoft.com/office/officeart/2009/3/layout/HorizontalOrganizationChart"/>
    <dgm:cxn modelId="{D2C4D4A0-1AFC-CB41-821D-DF20C68EDF81}" srcId="{73ADBEE9-F7AD-0440-8BC1-1F9AF8312AA8}" destId="{88C36BED-8310-E940-BD52-26C10D304901}" srcOrd="0" destOrd="0" parTransId="{5FD9F46C-12BA-E648-8A4E-E3A323F303D6}" sibTransId="{DAD57662-3E6D-F24B-BB5D-184FC8A19E4F}"/>
    <dgm:cxn modelId="{D768F3AE-0D0D-D64C-B2AD-18622431DA39}" type="presOf" srcId="{CDDB9596-A0A7-304E-960A-35A7CB23B677}" destId="{AC466CEB-6505-4548-844B-44A064AA089E}" srcOrd="1" destOrd="0" presId="urn:microsoft.com/office/officeart/2009/3/layout/HorizontalOrganizationChart"/>
    <dgm:cxn modelId="{DB301FB5-3DF3-4644-984A-450A6CE2C004}" type="presOf" srcId="{7F14FEAE-A48B-7041-8176-20E0D89BDB85}" destId="{E9388CE0-6325-DC47-BF8E-8D1EA2A9603E}" srcOrd="0" destOrd="0" presId="urn:microsoft.com/office/officeart/2009/3/layout/HorizontalOrganizationChart"/>
    <dgm:cxn modelId="{E4F488BC-4BF3-0844-94CB-F18B50219DAA}" type="presOf" srcId="{2E2726C8-F8EF-CF4D-9ACD-547F5D7D15E0}" destId="{3301F485-A164-CC4A-9D18-66621B27AD37}" srcOrd="1" destOrd="0" presId="urn:microsoft.com/office/officeart/2009/3/layout/HorizontalOrganizationChart"/>
    <dgm:cxn modelId="{8A06BCC2-18C3-C243-B396-618FB40B1215}" type="presOf" srcId="{5097051D-ABB3-5F47-81F5-64E0EDC2F0C5}" destId="{74400A3B-D6B7-7845-9369-773C8709F47F}" srcOrd="0" destOrd="0" presId="urn:microsoft.com/office/officeart/2009/3/layout/HorizontalOrganizationChart"/>
    <dgm:cxn modelId="{831F05C8-BC68-8F40-A445-995CEDDF2E2D}" type="presOf" srcId="{F988C2EF-FE5A-C34F-85A7-8D0E74E4BE05}" destId="{B8C63690-F6ED-2C4A-B226-F16B043134B9}" srcOrd="1" destOrd="0" presId="urn:microsoft.com/office/officeart/2009/3/layout/HorizontalOrganizationChart"/>
    <dgm:cxn modelId="{C6BD4CC8-E3A1-384F-8BE5-7BD87464A98C}" type="presOf" srcId="{5FD9F46C-12BA-E648-8A4E-E3A323F303D6}" destId="{6E287D07-0D9A-9645-991A-D6FF37952DDD}" srcOrd="0" destOrd="0" presId="urn:microsoft.com/office/officeart/2009/3/layout/HorizontalOrganizationChart"/>
    <dgm:cxn modelId="{92F48ACA-4906-DB4B-BF8F-F3EA479D7CDB}" srcId="{2E2726C8-F8EF-CF4D-9ACD-547F5D7D15E0}" destId="{F988C2EF-FE5A-C34F-85A7-8D0E74E4BE05}" srcOrd="1" destOrd="0" parTransId="{06291ECC-775C-4947-8CE1-241E7560A760}" sibTransId="{3EB3FE99-240B-5241-B212-733DDE5076A6}"/>
    <dgm:cxn modelId="{F1385ED8-1FE8-0B43-985A-1C9DAD6AF148}" type="presOf" srcId="{73ADBEE9-F7AD-0440-8BC1-1F9AF8312AA8}" destId="{0D62E34B-406D-6F49-8FA1-3F903D425AC7}" srcOrd="1" destOrd="0" presId="urn:microsoft.com/office/officeart/2009/3/layout/HorizontalOrganizationChart"/>
    <dgm:cxn modelId="{EA932DD9-0ED9-D643-8710-7B6A0E79534C}" type="presOf" srcId="{73ADBEE9-F7AD-0440-8BC1-1F9AF8312AA8}" destId="{A3B7A53C-59D8-ED43-85F6-1625E4AA18FB}" srcOrd="0" destOrd="0" presId="urn:microsoft.com/office/officeart/2009/3/layout/HorizontalOrganizationChart"/>
    <dgm:cxn modelId="{AD49F0DA-5673-5F4A-A72E-8FCA71514EA8}" type="presOf" srcId="{2E2726C8-F8EF-CF4D-9ACD-547F5D7D15E0}" destId="{5EDF934A-5180-9447-BA89-C77FDFE081B1}" srcOrd="0" destOrd="0" presId="urn:microsoft.com/office/officeart/2009/3/layout/HorizontalOrganizationChart"/>
    <dgm:cxn modelId="{E0DC7AE0-1546-0C43-BA5E-E1BDECFF58BE}" srcId="{4C9FCDF0-57E8-E545-A9C3-CAA987BCC509}" destId="{CDDB9596-A0A7-304E-960A-35A7CB23B677}" srcOrd="1" destOrd="0" parTransId="{7F14FEAE-A48B-7041-8176-20E0D89BDB85}" sibTransId="{2F03702A-CF3F-7848-87AF-079EA561D225}"/>
    <dgm:cxn modelId="{308505E1-7E60-6541-9A5D-453CD3197870}" type="presOf" srcId="{20340B9D-F0C2-9B46-A755-51441C1863BB}" destId="{C4BB05E6-6E80-1E4C-B22E-F1436D025FF1}" srcOrd="1" destOrd="0" presId="urn:microsoft.com/office/officeart/2009/3/layout/HorizontalOrganizationChart"/>
    <dgm:cxn modelId="{F96149E2-E3F8-994C-BB8C-AC12E6F2185E}" type="presOf" srcId="{D2654F33-4004-EA49-B45E-11278710649E}" destId="{3915E29C-9B77-FF4E-92C4-E663D60F8DA5}" srcOrd="1" destOrd="0" presId="urn:microsoft.com/office/officeart/2009/3/layout/HorizontalOrganizationChart"/>
    <dgm:cxn modelId="{FCE3E7E4-DC15-2B46-827A-9874320528F3}" type="presOf" srcId="{9B0800D2-985C-8444-B271-AA6DDFB398EC}" destId="{17560603-6AF9-EC49-BABD-4A100DC62357}" srcOrd="0" destOrd="0" presId="urn:microsoft.com/office/officeart/2009/3/layout/HorizontalOrganizationChart"/>
    <dgm:cxn modelId="{A620CCEB-5E19-5543-96C4-78A7B70710B0}" srcId="{73ADBEE9-F7AD-0440-8BC1-1F9AF8312AA8}" destId="{D2654F33-4004-EA49-B45E-11278710649E}" srcOrd="5" destOrd="0" parTransId="{F24F37E0-696A-9F42-B53B-DA8DE6A54A55}" sibTransId="{D6E349C6-6030-D64B-91F3-9F5F80E825B4}"/>
    <dgm:cxn modelId="{DEC490EC-D7AB-3E48-8A77-5950752A50FE}" type="presOf" srcId="{4C9FCDF0-57E8-E545-A9C3-CAA987BCC509}" destId="{BC689DF6-5924-B34D-8D15-2BD0AC03EAA6}" srcOrd="0" destOrd="0" presId="urn:microsoft.com/office/officeart/2009/3/layout/HorizontalOrganizationChart"/>
    <dgm:cxn modelId="{802D51EF-6717-784C-8030-3E9B51AF7B59}" type="presOf" srcId="{B5BACE27-CC37-0E4F-BC6F-9C19035D01FF}" destId="{7AC527E1-CE8C-FD46-9799-FA37531ACC40}" srcOrd="0" destOrd="0" presId="urn:microsoft.com/office/officeart/2009/3/layout/HorizontalOrganizationChart"/>
    <dgm:cxn modelId="{ACE05BF0-06A9-DD41-A65B-D986098C8D2E}" srcId="{AD7DE013-2E0B-714C-BE75-D439F732B80C}" destId="{73ADBEE9-F7AD-0440-8BC1-1F9AF8312AA8}" srcOrd="0" destOrd="0" parTransId="{FC92C990-7B60-CD49-8590-1FDF4E407BF3}" sibTransId="{1A97C7B8-A839-7645-A772-56D1EC7EED1C}"/>
    <dgm:cxn modelId="{A85525F2-1704-4F48-B4B5-4A56AF166C75}" type="presOf" srcId="{88C36BED-8310-E940-BD52-26C10D304901}" destId="{798254A7-28D6-6441-9612-073AADE1E304}" srcOrd="1" destOrd="0" presId="urn:microsoft.com/office/officeart/2009/3/layout/HorizontalOrganizationChart"/>
    <dgm:cxn modelId="{0F5716F4-0685-3040-AD65-A5A9B1340776}" type="presOf" srcId="{20340B9D-F0C2-9B46-A755-51441C1863BB}" destId="{95E6837A-7B66-8548-B97F-41BB7787935B}" srcOrd="0" destOrd="0" presId="urn:microsoft.com/office/officeart/2009/3/layout/HorizontalOrganizationChart"/>
    <dgm:cxn modelId="{36FD1EF9-4925-0D44-B14D-793218B3D1BC}" type="presOf" srcId="{5C529D53-C88D-6946-94B4-D397488DFF2B}" destId="{29AB4DED-39BD-1D4C-900D-56C59C038C61}" srcOrd="0" destOrd="0" presId="urn:microsoft.com/office/officeart/2009/3/layout/HorizontalOrganizationChart"/>
    <dgm:cxn modelId="{2A5B3BF9-E6CF-6F43-86AD-250043635503}" type="presOf" srcId="{C6974827-84EA-7A44-ABC0-DD9BF3779120}" destId="{7598D865-E816-854E-B4E9-0943E3C580E6}" srcOrd="0" destOrd="0" presId="urn:microsoft.com/office/officeart/2009/3/layout/HorizontalOrganizationChart"/>
    <dgm:cxn modelId="{792D6BFD-699B-FC46-8143-6D76ABC79FE9}" type="presOf" srcId="{A9BDEEB9-68C8-5147-881B-1021BDF42299}" destId="{692E4B00-DFE1-2E40-83E7-A38A1B9D6243}" srcOrd="0" destOrd="0" presId="urn:microsoft.com/office/officeart/2009/3/layout/HorizontalOrganizationChart"/>
    <dgm:cxn modelId="{359E5D4C-7932-E742-BDAC-123697546DB0}" type="presParOf" srcId="{B4647226-1E67-F94C-AA7A-F4C117F26AD8}" destId="{DEB77DE4-146B-5D41-8CA9-7E60DE734E4C}" srcOrd="0" destOrd="0" presId="urn:microsoft.com/office/officeart/2009/3/layout/HorizontalOrganizationChart"/>
    <dgm:cxn modelId="{19224606-5564-1F49-85DC-73B887A73D5E}" type="presParOf" srcId="{DEB77DE4-146B-5D41-8CA9-7E60DE734E4C}" destId="{F507C762-1544-0D4E-BF73-EE6CF11117A7}" srcOrd="0" destOrd="0" presId="urn:microsoft.com/office/officeart/2009/3/layout/HorizontalOrganizationChart"/>
    <dgm:cxn modelId="{AD976769-7EF8-BC49-8E41-C4EA348A5DDF}" type="presParOf" srcId="{F507C762-1544-0D4E-BF73-EE6CF11117A7}" destId="{A3B7A53C-59D8-ED43-85F6-1625E4AA18FB}" srcOrd="0" destOrd="0" presId="urn:microsoft.com/office/officeart/2009/3/layout/HorizontalOrganizationChart"/>
    <dgm:cxn modelId="{12088B4C-C40E-5046-9F93-DE45BD31C346}" type="presParOf" srcId="{F507C762-1544-0D4E-BF73-EE6CF11117A7}" destId="{0D62E34B-406D-6F49-8FA1-3F903D425AC7}" srcOrd="1" destOrd="0" presId="urn:microsoft.com/office/officeart/2009/3/layout/HorizontalOrganizationChart"/>
    <dgm:cxn modelId="{4EFFD772-1ED8-D34C-8432-7D417CB6863E}" type="presParOf" srcId="{DEB77DE4-146B-5D41-8CA9-7E60DE734E4C}" destId="{6891C197-09A1-8D49-9C87-BF7B43AEB391}" srcOrd="1" destOrd="0" presId="urn:microsoft.com/office/officeart/2009/3/layout/HorizontalOrganizationChart"/>
    <dgm:cxn modelId="{4B6112D9-09E7-3949-8881-FBCA4F02F3D5}" type="presParOf" srcId="{6891C197-09A1-8D49-9C87-BF7B43AEB391}" destId="{6E287D07-0D9A-9645-991A-D6FF37952DDD}" srcOrd="0" destOrd="0" presId="urn:microsoft.com/office/officeart/2009/3/layout/HorizontalOrganizationChart"/>
    <dgm:cxn modelId="{44A51189-9C07-EE40-924C-CE51A2F579C5}" type="presParOf" srcId="{6891C197-09A1-8D49-9C87-BF7B43AEB391}" destId="{685ECA7F-6E9D-9345-AFFA-39059104D2A5}" srcOrd="1" destOrd="0" presId="urn:microsoft.com/office/officeart/2009/3/layout/HorizontalOrganizationChart"/>
    <dgm:cxn modelId="{CBCC42C7-2F49-404B-991F-45743E7DC3CB}" type="presParOf" srcId="{685ECA7F-6E9D-9345-AFFA-39059104D2A5}" destId="{70EA7B23-47F5-9141-98DF-3CF9E7C4D70A}" srcOrd="0" destOrd="0" presId="urn:microsoft.com/office/officeart/2009/3/layout/HorizontalOrganizationChart"/>
    <dgm:cxn modelId="{861E0506-8E82-7348-8AF7-C42A4B523A7C}" type="presParOf" srcId="{70EA7B23-47F5-9141-98DF-3CF9E7C4D70A}" destId="{C25B7717-E7EC-344C-B0C3-106C542AB681}" srcOrd="0" destOrd="0" presId="urn:microsoft.com/office/officeart/2009/3/layout/HorizontalOrganizationChart"/>
    <dgm:cxn modelId="{FA63B235-F088-A14E-82D2-2C407B5FD011}" type="presParOf" srcId="{70EA7B23-47F5-9141-98DF-3CF9E7C4D70A}" destId="{798254A7-28D6-6441-9612-073AADE1E304}" srcOrd="1" destOrd="0" presId="urn:microsoft.com/office/officeart/2009/3/layout/HorizontalOrganizationChart"/>
    <dgm:cxn modelId="{BFD3D900-C680-294A-9A61-FC1C37E8DFAB}" type="presParOf" srcId="{685ECA7F-6E9D-9345-AFFA-39059104D2A5}" destId="{949689FD-D1AE-F448-B0B4-B1D91BD27AD0}" srcOrd="1" destOrd="0" presId="urn:microsoft.com/office/officeart/2009/3/layout/HorizontalOrganizationChart"/>
    <dgm:cxn modelId="{388D3440-C7A8-FE4C-97D6-6E3AE999544D}" type="presParOf" srcId="{685ECA7F-6E9D-9345-AFFA-39059104D2A5}" destId="{D7A9EE13-A876-F34C-8A10-DBE8A5A399D2}" srcOrd="2" destOrd="0" presId="urn:microsoft.com/office/officeart/2009/3/layout/HorizontalOrganizationChart"/>
    <dgm:cxn modelId="{DC9829E5-4A53-2F46-BB1D-B0B84CDE0B63}" type="presParOf" srcId="{6891C197-09A1-8D49-9C87-BF7B43AEB391}" destId="{6BFF9F34-46EE-8D4F-B69F-B4D5B03099F0}" srcOrd="2" destOrd="0" presId="urn:microsoft.com/office/officeart/2009/3/layout/HorizontalOrganizationChart"/>
    <dgm:cxn modelId="{18DDE2B5-5D7C-0D4F-8FF8-837A0C184B76}" type="presParOf" srcId="{6891C197-09A1-8D49-9C87-BF7B43AEB391}" destId="{893F881E-58F9-A24A-81E3-7C67627BEF3F}" srcOrd="3" destOrd="0" presId="urn:microsoft.com/office/officeart/2009/3/layout/HorizontalOrganizationChart"/>
    <dgm:cxn modelId="{794FE688-DA33-3F44-AF4F-FC3CD3833B1A}" type="presParOf" srcId="{893F881E-58F9-A24A-81E3-7C67627BEF3F}" destId="{B4A356EB-BB3E-7744-9FB4-13AAE18E739D}" srcOrd="0" destOrd="0" presId="urn:microsoft.com/office/officeart/2009/3/layout/HorizontalOrganizationChart"/>
    <dgm:cxn modelId="{3783BAB6-18A9-4C4C-BCA1-F0050B405DDA}" type="presParOf" srcId="{B4A356EB-BB3E-7744-9FB4-13AAE18E739D}" destId="{7AC527E1-CE8C-FD46-9799-FA37531ACC40}" srcOrd="0" destOrd="0" presId="urn:microsoft.com/office/officeart/2009/3/layout/HorizontalOrganizationChart"/>
    <dgm:cxn modelId="{1CB2AD11-E917-CC48-AA1B-C88E094A1144}" type="presParOf" srcId="{B4A356EB-BB3E-7744-9FB4-13AAE18E739D}" destId="{66C6F74B-AFE0-D74C-8B23-3D34AF8D5990}" srcOrd="1" destOrd="0" presId="urn:microsoft.com/office/officeart/2009/3/layout/HorizontalOrganizationChart"/>
    <dgm:cxn modelId="{2EDE2C64-7C26-244A-867D-47C57812CF74}" type="presParOf" srcId="{893F881E-58F9-A24A-81E3-7C67627BEF3F}" destId="{9475200E-CBEE-3E4F-8A7F-0CDD68AEF094}" srcOrd="1" destOrd="0" presId="urn:microsoft.com/office/officeart/2009/3/layout/HorizontalOrganizationChart"/>
    <dgm:cxn modelId="{158DAFB6-284D-8847-AD6A-AA26F8468B70}" type="presParOf" srcId="{893F881E-58F9-A24A-81E3-7C67627BEF3F}" destId="{F4F944E3-106C-424B-A034-05336D71AB7F}" srcOrd="2" destOrd="0" presId="urn:microsoft.com/office/officeart/2009/3/layout/HorizontalOrganizationChart"/>
    <dgm:cxn modelId="{B1805E8D-E787-5F40-BD2C-96AB3252D7CC}" type="presParOf" srcId="{6891C197-09A1-8D49-9C87-BF7B43AEB391}" destId="{E77C3A94-4D51-4A41-8B02-B52620026DC9}" srcOrd="4" destOrd="0" presId="urn:microsoft.com/office/officeart/2009/3/layout/HorizontalOrganizationChart"/>
    <dgm:cxn modelId="{36A67121-51B8-5648-9330-7B13CB115753}" type="presParOf" srcId="{6891C197-09A1-8D49-9C87-BF7B43AEB391}" destId="{C7E8C8E6-04FA-2A43-BC46-65045244B999}" srcOrd="5" destOrd="0" presId="urn:microsoft.com/office/officeart/2009/3/layout/HorizontalOrganizationChart"/>
    <dgm:cxn modelId="{EAB2D39B-B7EA-EF48-80AA-B0F88D7530B7}" type="presParOf" srcId="{C7E8C8E6-04FA-2A43-BC46-65045244B999}" destId="{D2798A73-D46C-2A49-B96E-3F3EB16469AB}" srcOrd="0" destOrd="0" presId="urn:microsoft.com/office/officeart/2009/3/layout/HorizontalOrganizationChart"/>
    <dgm:cxn modelId="{5F87357E-3526-224E-A36D-6E524CB316D5}" type="presParOf" srcId="{D2798A73-D46C-2A49-B96E-3F3EB16469AB}" destId="{5EDF934A-5180-9447-BA89-C77FDFE081B1}" srcOrd="0" destOrd="0" presId="urn:microsoft.com/office/officeart/2009/3/layout/HorizontalOrganizationChart"/>
    <dgm:cxn modelId="{0D0789A0-604D-B541-BA7E-DE277322AA31}" type="presParOf" srcId="{D2798A73-D46C-2A49-B96E-3F3EB16469AB}" destId="{3301F485-A164-CC4A-9D18-66621B27AD37}" srcOrd="1" destOrd="0" presId="urn:microsoft.com/office/officeart/2009/3/layout/HorizontalOrganizationChart"/>
    <dgm:cxn modelId="{4AF5B156-637D-2847-8531-65CB6666E5A1}" type="presParOf" srcId="{C7E8C8E6-04FA-2A43-BC46-65045244B999}" destId="{34C1026F-E330-F14D-8DCD-CE66C132E2B9}" srcOrd="1" destOrd="0" presId="urn:microsoft.com/office/officeart/2009/3/layout/HorizontalOrganizationChart"/>
    <dgm:cxn modelId="{A84E6B96-9FFD-A145-BF24-72741F6BB296}" type="presParOf" srcId="{34C1026F-E330-F14D-8DCD-CE66C132E2B9}" destId="{29AB4DED-39BD-1D4C-900D-56C59C038C61}" srcOrd="0" destOrd="0" presId="urn:microsoft.com/office/officeart/2009/3/layout/HorizontalOrganizationChart"/>
    <dgm:cxn modelId="{D421097E-7F34-774B-901C-56903780B447}" type="presParOf" srcId="{34C1026F-E330-F14D-8DCD-CE66C132E2B9}" destId="{6A1DCD42-6FBD-9B49-BF85-251459445B8B}" srcOrd="1" destOrd="0" presId="urn:microsoft.com/office/officeart/2009/3/layout/HorizontalOrganizationChart"/>
    <dgm:cxn modelId="{863820CA-B847-E74A-8223-83BBFA6C0182}" type="presParOf" srcId="{6A1DCD42-6FBD-9B49-BF85-251459445B8B}" destId="{4A86F3C1-84BE-5346-AA33-DF42D6542C9D}" srcOrd="0" destOrd="0" presId="urn:microsoft.com/office/officeart/2009/3/layout/HorizontalOrganizationChart"/>
    <dgm:cxn modelId="{7C2973A1-85F6-DA4E-BB1C-88C096665D5C}" type="presParOf" srcId="{4A86F3C1-84BE-5346-AA33-DF42D6542C9D}" destId="{95E6837A-7B66-8548-B97F-41BB7787935B}" srcOrd="0" destOrd="0" presId="urn:microsoft.com/office/officeart/2009/3/layout/HorizontalOrganizationChart"/>
    <dgm:cxn modelId="{40C960CB-0D8C-6142-8826-79F06089D386}" type="presParOf" srcId="{4A86F3C1-84BE-5346-AA33-DF42D6542C9D}" destId="{C4BB05E6-6E80-1E4C-B22E-F1436D025FF1}" srcOrd="1" destOrd="0" presId="urn:microsoft.com/office/officeart/2009/3/layout/HorizontalOrganizationChart"/>
    <dgm:cxn modelId="{623F35B2-290C-A44C-A96E-B41AD11A6E19}" type="presParOf" srcId="{6A1DCD42-6FBD-9B49-BF85-251459445B8B}" destId="{8B1DCB79-D469-954D-BFDB-AD3EF5A246A2}" srcOrd="1" destOrd="0" presId="urn:microsoft.com/office/officeart/2009/3/layout/HorizontalOrganizationChart"/>
    <dgm:cxn modelId="{36B3B600-418E-C347-B55A-5E9956772F74}" type="presParOf" srcId="{6A1DCD42-6FBD-9B49-BF85-251459445B8B}" destId="{1C1A271F-51EC-5D4F-B748-427B62537187}" srcOrd="2" destOrd="0" presId="urn:microsoft.com/office/officeart/2009/3/layout/HorizontalOrganizationChart"/>
    <dgm:cxn modelId="{56F891A2-DFBA-6E42-9903-B7CBBE32EE28}" type="presParOf" srcId="{34C1026F-E330-F14D-8DCD-CE66C132E2B9}" destId="{88F37CE0-EA8E-ED4C-8184-A3DB32BF259E}" srcOrd="2" destOrd="0" presId="urn:microsoft.com/office/officeart/2009/3/layout/HorizontalOrganizationChart"/>
    <dgm:cxn modelId="{17A9D497-F50B-E342-9E1C-99A07CD76FF2}" type="presParOf" srcId="{34C1026F-E330-F14D-8DCD-CE66C132E2B9}" destId="{E87BE34D-69D2-9A45-B370-40666D95F0B7}" srcOrd="3" destOrd="0" presId="urn:microsoft.com/office/officeart/2009/3/layout/HorizontalOrganizationChart"/>
    <dgm:cxn modelId="{9A03805B-5600-5547-A84C-E6B1E5ED9F16}" type="presParOf" srcId="{E87BE34D-69D2-9A45-B370-40666D95F0B7}" destId="{CE96809E-55E0-D34E-8EE2-A9C79060B043}" srcOrd="0" destOrd="0" presId="urn:microsoft.com/office/officeart/2009/3/layout/HorizontalOrganizationChart"/>
    <dgm:cxn modelId="{D9DDA617-9766-EC47-91DB-CE795AB4D33E}" type="presParOf" srcId="{CE96809E-55E0-D34E-8EE2-A9C79060B043}" destId="{CA9E075C-06FD-1A4E-8B3B-95CFBF82D487}" srcOrd="0" destOrd="0" presId="urn:microsoft.com/office/officeart/2009/3/layout/HorizontalOrganizationChart"/>
    <dgm:cxn modelId="{F095E930-AF57-F147-8A40-1B1A9CD69965}" type="presParOf" srcId="{CE96809E-55E0-D34E-8EE2-A9C79060B043}" destId="{B8C63690-F6ED-2C4A-B226-F16B043134B9}" srcOrd="1" destOrd="0" presId="urn:microsoft.com/office/officeart/2009/3/layout/HorizontalOrganizationChart"/>
    <dgm:cxn modelId="{B2872A2E-AD5B-4C43-859C-E2C44C75A8E8}" type="presParOf" srcId="{E87BE34D-69D2-9A45-B370-40666D95F0B7}" destId="{9D75ABD7-7303-6E47-A555-8E5097DD0F8E}" srcOrd="1" destOrd="0" presId="urn:microsoft.com/office/officeart/2009/3/layout/HorizontalOrganizationChart"/>
    <dgm:cxn modelId="{7C48323C-761A-2B4D-BF9D-75867DB890DF}" type="presParOf" srcId="{E87BE34D-69D2-9A45-B370-40666D95F0B7}" destId="{242A883C-55C1-0740-BEF3-9227A3ACB16A}" srcOrd="2" destOrd="0" presId="urn:microsoft.com/office/officeart/2009/3/layout/HorizontalOrganizationChart"/>
    <dgm:cxn modelId="{EF7801A1-6BB9-4A45-8B67-824D44E41062}" type="presParOf" srcId="{C7E8C8E6-04FA-2A43-BC46-65045244B999}" destId="{12A7C50F-FBFA-7A4C-B0C2-25C93F5F2D75}" srcOrd="2" destOrd="0" presId="urn:microsoft.com/office/officeart/2009/3/layout/HorizontalOrganizationChart"/>
    <dgm:cxn modelId="{C73DA069-7551-534E-B6CE-B72F6A3C97C1}" type="presParOf" srcId="{6891C197-09A1-8D49-9C87-BF7B43AEB391}" destId="{B49CB8A1-69FF-6E49-985B-319088E7164C}" srcOrd="6" destOrd="0" presId="urn:microsoft.com/office/officeart/2009/3/layout/HorizontalOrganizationChart"/>
    <dgm:cxn modelId="{5D3AC684-942F-9B48-9DDA-E3DD9A583F0C}" type="presParOf" srcId="{6891C197-09A1-8D49-9C87-BF7B43AEB391}" destId="{05FA53AD-7B3A-8E44-BCBC-5FA288950A9E}" srcOrd="7" destOrd="0" presId="urn:microsoft.com/office/officeart/2009/3/layout/HorizontalOrganizationChart"/>
    <dgm:cxn modelId="{0BC0E45F-BFE6-7545-9E6B-908F466531D2}" type="presParOf" srcId="{05FA53AD-7B3A-8E44-BCBC-5FA288950A9E}" destId="{34F000C7-7AAF-CC48-BDC1-A42ED6508A4E}" srcOrd="0" destOrd="0" presId="urn:microsoft.com/office/officeart/2009/3/layout/HorizontalOrganizationChart"/>
    <dgm:cxn modelId="{938DB0FF-3B92-C44A-A1EB-512140A7D98D}" type="presParOf" srcId="{34F000C7-7AAF-CC48-BDC1-A42ED6508A4E}" destId="{17560603-6AF9-EC49-BABD-4A100DC62357}" srcOrd="0" destOrd="0" presId="urn:microsoft.com/office/officeart/2009/3/layout/HorizontalOrganizationChart"/>
    <dgm:cxn modelId="{5097B2D9-7E5F-F849-9E17-5E9E7E392BA2}" type="presParOf" srcId="{34F000C7-7AAF-CC48-BDC1-A42ED6508A4E}" destId="{B0D77BAA-C7EE-8C4A-9027-11470E2BBCB3}" srcOrd="1" destOrd="0" presId="urn:microsoft.com/office/officeart/2009/3/layout/HorizontalOrganizationChart"/>
    <dgm:cxn modelId="{3DAD1206-6D27-6446-B7B5-407644AFAD59}" type="presParOf" srcId="{05FA53AD-7B3A-8E44-BCBC-5FA288950A9E}" destId="{DD4E0CB8-DB9F-C04D-B100-56D191ACEFD1}" srcOrd="1" destOrd="0" presId="urn:microsoft.com/office/officeart/2009/3/layout/HorizontalOrganizationChart"/>
    <dgm:cxn modelId="{1122CE9D-C01A-6C4D-9CD9-372E7068506C}" type="presParOf" srcId="{05FA53AD-7B3A-8E44-BCBC-5FA288950A9E}" destId="{BF01333B-4028-004A-8836-9024E230D480}" srcOrd="2" destOrd="0" presId="urn:microsoft.com/office/officeart/2009/3/layout/HorizontalOrganizationChart"/>
    <dgm:cxn modelId="{74E446B9-0570-9647-80AC-F7DB2B3625F0}" type="presParOf" srcId="{6891C197-09A1-8D49-9C87-BF7B43AEB391}" destId="{74400A3B-D6B7-7845-9369-773C8709F47F}" srcOrd="8" destOrd="0" presId="urn:microsoft.com/office/officeart/2009/3/layout/HorizontalOrganizationChart"/>
    <dgm:cxn modelId="{1BA24ABE-943E-1842-B801-2C2A8A026FCD}" type="presParOf" srcId="{6891C197-09A1-8D49-9C87-BF7B43AEB391}" destId="{15555545-8041-764D-88C1-C6271AD23748}" srcOrd="9" destOrd="0" presId="urn:microsoft.com/office/officeart/2009/3/layout/HorizontalOrganizationChart"/>
    <dgm:cxn modelId="{01C685CD-C074-5240-A292-DD494CA94688}" type="presParOf" srcId="{15555545-8041-764D-88C1-C6271AD23748}" destId="{878968A0-327A-3E4D-9711-A836EF16AB55}" srcOrd="0" destOrd="0" presId="urn:microsoft.com/office/officeart/2009/3/layout/HorizontalOrganizationChart"/>
    <dgm:cxn modelId="{2EBD9A58-E9CC-724F-B803-7C2AA1276B3F}" type="presParOf" srcId="{878968A0-327A-3E4D-9711-A836EF16AB55}" destId="{13609F6B-CF32-754E-BE01-D8544AD7CA59}" srcOrd="0" destOrd="0" presId="urn:microsoft.com/office/officeart/2009/3/layout/HorizontalOrganizationChart"/>
    <dgm:cxn modelId="{2ED2EA75-89E6-AC4A-A6D3-08F7370078F0}" type="presParOf" srcId="{878968A0-327A-3E4D-9711-A836EF16AB55}" destId="{8BA7D82B-A297-CC42-9979-D57AD99C90AF}" srcOrd="1" destOrd="0" presId="urn:microsoft.com/office/officeart/2009/3/layout/HorizontalOrganizationChart"/>
    <dgm:cxn modelId="{18303EF8-AE1F-C548-96BB-91828C785128}" type="presParOf" srcId="{15555545-8041-764D-88C1-C6271AD23748}" destId="{313B2F38-0793-7D4C-9A7B-E8A0ABC06A3D}" srcOrd="1" destOrd="0" presId="urn:microsoft.com/office/officeart/2009/3/layout/HorizontalOrganizationChart"/>
    <dgm:cxn modelId="{EB0E2D3A-63F1-BB4F-8A47-7CDA8EE61010}" type="presParOf" srcId="{15555545-8041-764D-88C1-C6271AD23748}" destId="{B883BD18-8EA9-5446-A8E3-E2E9D01DBEFE}" srcOrd="2" destOrd="0" presId="urn:microsoft.com/office/officeart/2009/3/layout/HorizontalOrganizationChart"/>
    <dgm:cxn modelId="{CB0BDFDC-0418-2048-85F6-5A1ED5763C0B}" type="presParOf" srcId="{6891C197-09A1-8D49-9C87-BF7B43AEB391}" destId="{A72CDA00-70DE-F144-BA06-C3EF53AE94EA}" srcOrd="10" destOrd="0" presId="urn:microsoft.com/office/officeart/2009/3/layout/HorizontalOrganizationChart"/>
    <dgm:cxn modelId="{52C68B47-231B-E549-97C5-4F6775F142FC}" type="presParOf" srcId="{6891C197-09A1-8D49-9C87-BF7B43AEB391}" destId="{A15252C0-CA2F-1843-82CE-F0DBA1DA9788}" srcOrd="11" destOrd="0" presId="urn:microsoft.com/office/officeart/2009/3/layout/HorizontalOrganizationChart"/>
    <dgm:cxn modelId="{DC70D371-FE87-D94D-A625-DDA72DD2171F}" type="presParOf" srcId="{A15252C0-CA2F-1843-82CE-F0DBA1DA9788}" destId="{096931E0-B908-C94B-8ED5-F46BDC4A4AAA}" srcOrd="0" destOrd="0" presId="urn:microsoft.com/office/officeart/2009/3/layout/HorizontalOrganizationChart"/>
    <dgm:cxn modelId="{CF065A34-A8DE-344F-8799-E89CE020CC0D}" type="presParOf" srcId="{096931E0-B908-C94B-8ED5-F46BDC4A4AAA}" destId="{BF6B326C-A2A0-BC4B-A6EA-78584A57DF06}" srcOrd="0" destOrd="0" presId="urn:microsoft.com/office/officeart/2009/3/layout/HorizontalOrganizationChart"/>
    <dgm:cxn modelId="{A0FFF580-24FE-B44B-9DE4-691E0F8FEC33}" type="presParOf" srcId="{096931E0-B908-C94B-8ED5-F46BDC4A4AAA}" destId="{3915E29C-9B77-FF4E-92C4-E663D60F8DA5}" srcOrd="1" destOrd="0" presId="urn:microsoft.com/office/officeart/2009/3/layout/HorizontalOrganizationChart"/>
    <dgm:cxn modelId="{0CD13ACC-7168-CD45-9903-D9CA7573FB6D}" type="presParOf" srcId="{A15252C0-CA2F-1843-82CE-F0DBA1DA9788}" destId="{C787E5A1-4127-B743-9E55-DC56E96E62BD}" srcOrd="1" destOrd="0" presId="urn:microsoft.com/office/officeart/2009/3/layout/HorizontalOrganizationChart"/>
    <dgm:cxn modelId="{4B953BA5-9C6F-D440-9AEF-3F576710770A}" type="presParOf" srcId="{A15252C0-CA2F-1843-82CE-F0DBA1DA9788}" destId="{D4A5A901-ED69-AA43-92EA-F9A0352BDD02}" srcOrd="2" destOrd="0" presId="urn:microsoft.com/office/officeart/2009/3/layout/HorizontalOrganizationChart"/>
    <dgm:cxn modelId="{3F617D55-2CCE-CD4F-BC47-90433F6A78DA}" type="presParOf" srcId="{6891C197-09A1-8D49-9C87-BF7B43AEB391}" destId="{B37F133D-6E22-6340-991E-444DE3FF09B1}" srcOrd="12" destOrd="0" presId="urn:microsoft.com/office/officeart/2009/3/layout/HorizontalOrganizationChart"/>
    <dgm:cxn modelId="{73711B4E-B9E1-D942-9EA7-535DF167BFAC}" type="presParOf" srcId="{6891C197-09A1-8D49-9C87-BF7B43AEB391}" destId="{08B8F3CF-B2D5-EC46-89BA-44359AACD2BB}" srcOrd="13" destOrd="0" presId="urn:microsoft.com/office/officeart/2009/3/layout/HorizontalOrganizationChart"/>
    <dgm:cxn modelId="{2B9DC84E-A2CA-0C47-AC2F-78295D9C23DF}" type="presParOf" srcId="{08B8F3CF-B2D5-EC46-89BA-44359AACD2BB}" destId="{002DF696-0B04-A349-853A-4C7B92E61143}" srcOrd="0" destOrd="0" presId="urn:microsoft.com/office/officeart/2009/3/layout/HorizontalOrganizationChart"/>
    <dgm:cxn modelId="{ACDF4A69-8FF7-9B42-93D4-32E9C5D32540}" type="presParOf" srcId="{002DF696-0B04-A349-853A-4C7B92E61143}" destId="{BC689DF6-5924-B34D-8D15-2BD0AC03EAA6}" srcOrd="0" destOrd="0" presId="urn:microsoft.com/office/officeart/2009/3/layout/HorizontalOrganizationChart"/>
    <dgm:cxn modelId="{E49C631F-679F-F54A-867C-12AE5D9C7EDE}" type="presParOf" srcId="{002DF696-0B04-A349-853A-4C7B92E61143}" destId="{6EB1A433-5469-5340-A1F6-BEB6012F47D3}" srcOrd="1" destOrd="0" presId="urn:microsoft.com/office/officeart/2009/3/layout/HorizontalOrganizationChart"/>
    <dgm:cxn modelId="{9307CBC8-D877-1A47-81EC-00249EC919B3}" type="presParOf" srcId="{08B8F3CF-B2D5-EC46-89BA-44359AACD2BB}" destId="{5D0AA41A-417B-A942-B876-423BC2DC4B20}" srcOrd="1" destOrd="0" presId="urn:microsoft.com/office/officeart/2009/3/layout/HorizontalOrganizationChart"/>
    <dgm:cxn modelId="{355CA474-8244-B849-ACD3-888C953BF0D8}" type="presParOf" srcId="{5D0AA41A-417B-A942-B876-423BC2DC4B20}" destId="{7598D865-E816-854E-B4E9-0943E3C580E6}" srcOrd="0" destOrd="0" presId="urn:microsoft.com/office/officeart/2009/3/layout/HorizontalOrganizationChart"/>
    <dgm:cxn modelId="{9EB7446F-5F51-3140-9571-EE5EF359381B}" type="presParOf" srcId="{5D0AA41A-417B-A942-B876-423BC2DC4B20}" destId="{C8D7AB52-60D8-1440-82D2-F83B6267D5FC}" srcOrd="1" destOrd="0" presId="urn:microsoft.com/office/officeart/2009/3/layout/HorizontalOrganizationChart"/>
    <dgm:cxn modelId="{224E3269-077D-E54D-86AE-F7BEF4AA0C14}" type="presParOf" srcId="{C8D7AB52-60D8-1440-82D2-F83B6267D5FC}" destId="{D92816AF-D0BA-4C45-8ED1-8CA7CEE29215}" srcOrd="0" destOrd="0" presId="urn:microsoft.com/office/officeart/2009/3/layout/HorizontalOrganizationChart"/>
    <dgm:cxn modelId="{A98BA890-A374-C94C-B4FF-A99E6EB025E9}" type="presParOf" srcId="{D92816AF-D0BA-4C45-8ED1-8CA7CEE29215}" destId="{692E4B00-DFE1-2E40-83E7-A38A1B9D6243}" srcOrd="0" destOrd="0" presId="urn:microsoft.com/office/officeart/2009/3/layout/HorizontalOrganizationChart"/>
    <dgm:cxn modelId="{8623C57F-3A27-F940-93FB-A3E6A1886237}" type="presParOf" srcId="{D92816AF-D0BA-4C45-8ED1-8CA7CEE29215}" destId="{023BC653-58E7-A140-80DA-E2BE97C2A335}" srcOrd="1" destOrd="0" presId="urn:microsoft.com/office/officeart/2009/3/layout/HorizontalOrganizationChart"/>
    <dgm:cxn modelId="{08E9FF7A-06B9-D340-BCE9-9B6A27A261E0}" type="presParOf" srcId="{C8D7AB52-60D8-1440-82D2-F83B6267D5FC}" destId="{2BD12E22-26AD-7343-BC53-AA805763CEA1}" srcOrd="1" destOrd="0" presId="urn:microsoft.com/office/officeart/2009/3/layout/HorizontalOrganizationChart"/>
    <dgm:cxn modelId="{1A16FEE7-FF3B-4342-A9C6-9F05E8A12A8C}" type="presParOf" srcId="{C8D7AB52-60D8-1440-82D2-F83B6267D5FC}" destId="{C8954283-76AD-A54F-B9BC-A465E8975E71}" srcOrd="2" destOrd="0" presId="urn:microsoft.com/office/officeart/2009/3/layout/HorizontalOrganizationChart"/>
    <dgm:cxn modelId="{27544690-C955-3A44-B84F-787510489F27}" type="presParOf" srcId="{5D0AA41A-417B-A942-B876-423BC2DC4B20}" destId="{E9388CE0-6325-DC47-BF8E-8D1EA2A9603E}" srcOrd="2" destOrd="0" presId="urn:microsoft.com/office/officeart/2009/3/layout/HorizontalOrganizationChart"/>
    <dgm:cxn modelId="{A3102BD3-C773-2445-B607-32F1F9A2B57B}" type="presParOf" srcId="{5D0AA41A-417B-A942-B876-423BC2DC4B20}" destId="{3CBBE9B5-1841-5340-936F-EC7113D7F97F}" srcOrd="3" destOrd="0" presId="urn:microsoft.com/office/officeart/2009/3/layout/HorizontalOrganizationChart"/>
    <dgm:cxn modelId="{505D76FE-5B06-2347-9B91-5988C6B817F4}" type="presParOf" srcId="{3CBBE9B5-1841-5340-936F-EC7113D7F97F}" destId="{797DF901-5A56-8449-A982-8A2220D78401}" srcOrd="0" destOrd="0" presId="urn:microsoft.com/office/officeart/2009/3/layout/HorizontalOrganizationChart"/>
    <dgm:cxn modelId="{FEBF81AA-910F-6741-A5F7-312E6363A6B3}" type="presParOf" srcId="{797DF901-5A56-8449-A982-8A2220D78401}" destId="{5E65623A-A7BD-C646-9F46-F81DEC3D93DE}" srcOrd="0" destOrd="0" presId="urn:microsoft.com/office/officeart/2009/3/layout/HorizontalOrganizationChart"/>
    <dgm:cxn modelId="{0D4681F5-730D-B542-A440-DF616A8F4F58}" type="presParOf" srcId="{797DF901-5A56-8449-A982-8A2220D78401}" destId="{AC466CEB-6505-4548-844B-44A064AA089E}" srcOrd="1" destOrd="0" presId="urn:microsoft.com/office/officeart/2009/3/layout/HorizontalOrganizationChart"/>
    <dgm:cxn modelId="{8F74DCDC-34D5-E74F-9DB3-D79A8E8FC406}" type="presParOf" srcId="{3CBBE9B5-1841-5340-936F-EC7113D7F97F}" destId="{763AF7FC-C8DC-A247-B3AD-9D0F6A162A5D}" srcOrd="1" destOrd="0" presId="urn:microsoft.com/office/officeart/2009/3/layout/HorizontalOrganizationChart"/>
    <dgm:cxn modelId="{C03B5901-4484-8444-BA87-5754E154DAD4}" type="presParOf" srcId="{3CBBE9B5-1841-5340-936F-EC7113D7F97F}" destId="{FEE01CC6-25DD-594A-864D-0F49C2B1F072}" srcOrd="2" destOrd="0" presId="urn:microsoft.com/office/officeart/2009/3/layout/HorizontalOrganizationChart"/>
    <dgm:cxn modelId="{05E86C6F-BE15-8A4E-BF7F-B5C99F94FB7A}" type="presParOf" srcId="{08B8F3CF-B2D5-EC46-89BA-44359AACD2BB}" destId="{12763EED-A6CE-4E46-858E-EBBE89E5D7A8}" srcOrd="2" destOrd="0" presId="urn:microsoft.com/office/officeart/2009/3/layout/HorizontalOrganizationChart"/>
    <dgm:cxn modelId="{051A7D67-8568-7846-B71A-864C5F3C570D}" type="presParOf" srcId="{DEB77DE4-146B-5D41-8CA9-7E60DE734E4C}" destId="{6A89ECF4-A72A-7148-B6F5-A1A6DD4313CE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D4B35EA-DB30-7B42-934F-33FC24BB1B60}" type="doc">
      <dgm:prSet loTypeId="urn:microsoft.com/office/officeart/2005/8/layout/orgChar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48AE4B0-1BCC-AB4A-9B46-4865FDE1B2C1}">
      <dgm:prSet phldrT="[Text]" custT="1"/>
      <dgm:spPr>
        <a:solidFill>
          <a:srgbClr val="001E60"/>
        </a:solidFill>
      </dgm:spPr>
      <dgm:t>
        <a:bodyPr/>
        <a:lstStyle/>
        <a:p>
          <a:pPr>
            <a:lnSpc>
              <a:spcPts val="1440"/>
            </a:lnSpc>
            <a:spcAft>
              <a:spcPts val="0"/>
            </a:spcAft>
            <a:buNone/>
          </a:pPr>
          <a:endParaRPr lang="en-US" sz="1200" dirty="0"/>
        </a:p>
      </dgm:t>
    </dgm:pt>
    <dgm:pt modelId="{C80332F7-55BD-6841-955C-A33F55FE87E5}" type="parTrans" cxnId="{3484ED15-E90B-D849-949E-6690F5EAE959}">
      <dgm:prSet/>
      <dgm:spPr/>
      <dgm:t>
        <a:bodyPr/>
        <a:lstStyle/>
        <a:p>
          <a:endParaRPr lang="en-US"/>
        </a:p>
      </dgm:t>
    </dgm:pt>
    <dgm:pt modelId="{3590813E-0A2C-5444-A4C3-EB236D63E1B4}" type="sibTrans" cxnId="{3484ED15-E90B-D849-949E-6690F5EAE959}">
      <dgm:prSet/>
      <dgm:spPr/>
      <dgm:t>
        <a:bodyPr/>
        <a:lstStyle/>
        <a:p>
          <a:endParaRPr lang="en-US"/>
        </a:p>
      </dgm:t>
    </dgm:pt>
    <dgm:pt modelId="{A9ACA9EB-B84D-2846-9E8B-A13BD14B40F5}">
      <dgm:prSet phldrT="[Text]" custT="1"/>
      <dgm:spPr>
        <a:solidFill>
          <a:srgbClr val="A42C22"/>
        </a:solidFill>
      </dgm:spPr>
      <dgm:t>
        <a:bodyPr/>
        <a:lstStyle/>
        <a:p>
          <a:pPr>
            <a:lnSpc>
              <a:spcPts val="1120"/>
            </a:lnSpc>
            <a:spcAft>
              <a:spcPts val="0"/>
            </a:spcAft>
            <a:buNone/>
          </a:pPr>
          <a:endParaRPr lang="en-US" sz="1200" dirty="0"/>
        </a:p>
      </dgm:t>
    </dgm:pt>
    <dgm:pt modelId="{FFAB1B66-F7B5-BB48-9E2C-DA7960CA9BBE}" type="parTrans" cxnId="{5E834500-F321-0042-8857-59C56842EA8E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0E8F6BFC-F5C8-CC4B-BDE1-8FFBE50B7D16}" type="sibTrans" cxnId="{5E834500-F321-0042-8857-59C56842EA8E}">
      <dgm:prSet/>
      <dgm:spPr/>
      <dgm:t>
        <a:bodyPr/>
        <a:lstStyle/>
        <a:p>
          <a:endParaRPr lang="en-US"/>
        </a:p>
      </dgm:t>
    </dgm:pt>
    <dgm:pt modelId="{4DF60E9C-29CA-AE4F-AE33-B0EF4E7C4E7D}">
      <dgm:prSet phldrT="[Text]" custT="1"/>
      <dgm:spPr>
        <a:solidFill>
          <a:srgbClr val="A42C22"/>
        </a:solidFill>
      </dgm:spPr>
      <dgm:t>
        <a:bodyPr/>
        <a:lstStyle/>
        <a:p>
          <a:pPr>
            <a:lnSpc>
              <a:spcPts val="1120"/>
            </a:lnSpc>
            <a:spcAft>
              <a:spcPts val="0"/>
            </a:spcAft>
            <a:buNone/>
          </a:pPr>
          <a:endParaRPr lang="en-US" sz="1200" dirty="0"/>
        </a:p>
      </dgm:t>
    </dgm:pt>
    <dgm:pt modelId="{FB17B79E-8FB6-4043-9398-0EBBF8968416}" type="parTrans" cxnId="{DB755695-EBC9-3E41-A1B1-04E96AE6ADC7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3DB14352-AA19-C44F-BCC0-129A8E40AA56}" type="sibTrans" cxnId="{DB755695-EBC9-3E41-A1B1-04E96AE6ADC7}">
      <dgm:prSet/>
      <dgm:spPr/>
      <dgm:t>
        <a:bodyPr/>
        <a:lstStyle/>
        <a:p>
          <a:endParaRPr lang="en-US"/>
        </a:p>
      </dgm:t>
    </dgm:pt>
    <dgm:pt modelId="{77BD5296-776C-9D48-8A83-1DE730224121}">
      <dgm:prSet phldrT="[Text]" custT="1"/>
      <dgm:spPr>
        <a:solidFill>
          <a:srgbClr val="A42C22"/>
        </a:solidFill>
      </dgm:spPr>
      <dgm:t>
        <a:bodyPr/>
        <a:lstStyle/>
        <a:p>
          <a:pPr>
            <a:lnSpc>
              <a:spcPts val="1120"/>
            </a:lnSpc>
            <a:spcAft>
              <a:spcPts val="0"/>
            </a:spcAft>
            <a:buNone/>
          </a:pPr>
          <a:endParaRPr lang="en-US" sz="1200" dirty="0"/>
        </a:p>
      </dgm:t>
    </dgm:pt>
    <dgm:pt modelId="{9BD64807-57F2-394E-9A2F-B0B9D909F833}" type="parTrans" cxnId="{FBF234E4-2246-3F49-BA9B-D450698A43A4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CA57B57F-2612-1442-A1FA-D7851DDBDDCA}" type="sibTrans" cxnId="{FBF234E4-2246-3F49-BA9B-D450698A43A4}">
      <dgm:prSet/>
      <dgm:spPr/>
      <dgm:t>
        <a:bodyPr/>
        <a:lstStyle/>
        <a:p>
          <a:endParaRPr lang="en-US"/>
        </a:p>
      </dgm:t>
    </dgm:pt>
    <dgm:pt modelId="{6CEB43B6-EBD8-BB48-90C5-244C7429DB21}">
      <dgm:prSet phldrT="[Text]" custT="1"/>
      <dgm:spPr>
        <a:solidFill>
          <a:srgbClr val="A42C22"/>
        </a:solidFill>
      </dgm:spPr>
      <dgm:t>
        <a:bodyPr/>
        <a:lstStyle/>
        <a:p>
          <a:pPr>
            <a:lnSpc>
              <a:spcPts val="1120"/>
            </a:lnSpc>
            <a:spcAft>
              <a:spcPts val="0"/>
            </a:spcAft>
            <a:buNone/>
          </a:pPr>
          <a:endParaRPr lang="en-US" sz="1200" dirty="0"/>
        </a:p>
      </dgm:t>
    </dgm:pt>
    <dgm:pt modelId="{80A49050-836C-F04F-9BC7-8E5BC42FE4C8}" type="parTrans" cxnId="{478BBBF0-9579-4843-AC7E-5ECE1E559197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59C5C8F8-1FE9-7B42-9811-B0E3957C8A44}" type="sibTrans" cxnId="{478BBBF0-9579-4843-AC7E-5ECE1E559197}">
      <dgm:prSet/>
      <dgm:spPr/>
      <dgm:t>
        <a:bodyPr/>
        <a:lstStyle/>
        <a:p>
          <a:endParaRPr lang="en-US"/>
        </a:p>
      </dgm:t>
    </dgm:pt>
    <dgm:pt modelId="{17D40663-165F-2643-9CE3-613E173FDCAB}">
      <dgm:prSet phldrT="[Text]" custT="1"/>
      <dgm:spPr>
        <a:solidFill>
          <a:srgbClr val="A42C22"/>
        </a:solidFill>
      </dgm:spPr>
      <dgm:t>
        <a:bodyPr/>
        <a:lstStyle/>
        <a:p>
          <a:pPr>
            <a:lnSpc>
              <a:spcPts val="1120"/>
            </a:lnSpc>
            <a:spcAft>
              <a:spcPts val="0"/>
            </a:spcAft>
            <a:buNone/>
          </a:pPr>
          <a:endParaRPr lang="en-US" sz="1200" dirty="0"/>
        </a:p>
      </dgm:t>
    </dgm:pt>
    <dgm:pt modelId="{FF89A53B-3F2E-154B-85E0-B3273FE42CBE}" type="parTrans" cxnId="{054F740F-ED7D-3A45-BAD4-2819D2902DC5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1C403998-F371-674D-BF4F-68F2BF06745B}" type="sibTrans" cxnId="{054F740F-ED7D-3A45-BAD4-2819D2902DC5}">
      <dgm:prSet/>
      <dgm:spPr/>
      <dgm:t>
        <a:bodyPr/>
        <a:lstStyle/>
        <a:p>
          <a:endParaRPr lang="en-US"/>
        </a:p>
      </dgm:t>
    </dgm:pt>
    <dgm:pt modelId="{7E7EA13D-1C5B-8C49-B368-D558A42C5EEF}">
      <dgm:prSet phldrT="[Text]" custT="1"/>
      <dgm:spPr>
        <a:solidFill>
          <a:srgbClr val="A42C22"/>
        </a:solidFill>
      </dgm:spPr>
      <dgm:t>
        <a:bodyPr/>
        <a:lstStyle/>
        <a:p>
          <a:pPr>
            <a:lnSpc>
              <a:spcPts val="1120"/>
            </a:lnSpc>
            <a:spcAft>
              <a:spcPts val="0"/>
            </a:spcAft>
            <a:buNone/>
          </a:pPr>
          <a:endParaRPr lang="en-US" sz="1200" dirty="0"/>
        </a:p>
      </dgm:t>
    </dgm:pt>
    <dgm:pt modelId="{9A399D2C-2F4D-1A46-9E8B-0FD58D3D00CD}" type="parTrans" cxnId="{F326F792-C9AB-D74D-AF0A-38EC9CC46582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2D59217D-C05D-6141-BE2E-639BEACB60C8}" type="sibTrans" cxnId="{F326F792-C9AB-D74D-AF0A-38EC9CC46582}">
      <dgm:prSet/>
      <dgm:spPr/>
      <dgm:t>
        <a:bodyPr/>
        <a:lstStyle/>
        <a:p>
          <a:endParaRPr lang="en-US"/>
        </a:p>
      </dgm:t>
    </dgm:pt>
    <dgm:pt modelId="{FBCCEF22-C4F7-7842-BD7D-4B9BA9E2AED8}">
      <dgm:prSet phldrT="[Text]" custT="1"/>
      <dgm:spPr>
        <a:solidFill>
          <a:srgbClr val="A42C22"/>
        </a:solidFill>
      </dgm:spPr>
      <dgm:t>
        <a:bodyPr/>
        <a:lstStyle/>
        <a:p>
          <a:pPr>
            <a:lnSpc>
              <a:spcPts val="1120"/>
            </a:lnSpc>
            <a:spcAft>
              <a:spcPts val="0"/>
            </a:spcAft>
            <a:buNone/>
          </a:pPr>
          <a:endParaRPr lang="en-US" sz="1200" dirty="0"/>
        </a:p>
      </dgm:t>
    </dgm:pt>
    <dgm:pt modelId="{811F11F1-11E8-DB4C-BD71-05FC2B5079E7}" type="parTrans" cxnId="{7D2A68C1-3312-9A4E-9B75-2BB9F504A678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8F768ADF-F936-CE44-B56F-746ABFDF9784}" type="sibTrans" cxnId="{7D2A68C1-3312-9A4E-9B75-2BB9F504A678}">
      <dgm:prSet/>
      <dgm:spPr/>
      <dgm:t>
        <a:bodyPr/>
        <a:lstStyle/>
        <a:p>
          <a:endParaRPr lang="en-US"/>
        </a:p>
      </dgm:t>
    </dgm:pt>
    <dgm:pt modelId="{842F5A2B-191E-694E-986D-B32D2F7E0ACE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100"/>
            </a:lnSpc>
            <a:spcAft>
              <a:spcPts val="0"/>
            </a:spcAft>
          </a:pPr>
          <a:endParaRPr lang="en-US" sz="1200" b="1" i="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87B063D-BE1B-CB4D-A6DB-04DE510FF8D2}" type="parTrans" cxnId="{3284AEED-D9BF-8F48-B09E-ED2A26301469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9E4670AF-44D3-9E48-AA13-A7E64A13D952}" type="sibTrans" cxnId="{3284AEED-D9BF-8F48-B09E-ED2A26301469}">
      <dgm:prSet/>
      <dgm:spPr/>
      <dgm:t>
        <a:bodyPr/>
        <a:lstStyle/>
        <a:p>
          <a:endParaRPr lang="en-US"/>
        </a:p>
      </dgm:t>
    </dgm:pt>
    <dgm:pt modelId="{F744F54C-4AC3-9545-B7F3-A0D07D83F3C5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100"/>
            </a:lnSpc>
            <a:spcAft>
              <a:spcPts val="0"/>
            </a:spcAft>
          </a:pPr>
          <a:endParaRPr lang="en-US" sz="1200" dirty="0">
            <a:solidFill>
              <a:srgbClr val="001E60"/>
            </a:solidFill>
          </a:endParaRPr>
        </a:p>
      </dgm:t>
    </dgm:pt>
    <dgm:pt modelId="{7CF122D2-F738-4D4D-B630-8BA0CF61EA32}" type="parTrans" cxnId="{4FA09DFC-1D9A-084F-AB17-90A0ED2791F3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749FDB5A-81F3-7848-A5DC-AB928EF1CF95}" type="sibTrans" cxnId="{4FA09DFC-1D9A-084F-AB17-90A0ED2791F3}">
      <dgm:prSet/>
      <dgm:spPr/>
      <dgm:t>
        <a:bodyPr/>
        <a:lstStyle/>
        <a:p>
          <a:endParaRPr lang="en-US"/>
        </a:p>
      </dgm:t>
    </dgm:pt>
    <dgm:pt modelId="{DB9FEF5F-0573-8244-B171-3768546FF2A4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200"/>
            </a:lnSpc>
            <a:spcAft>
              <a:spcPts val="0"/>
            </a:spcAft>
          </a:pPr>
          <a:endParaRPr lang="en-US" sz="1200" b="1" i="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0EC2D8B-2A12-1F41-A4D4-9555C8DE5151}" type="parTrans" cxnId="{614EABDF-AF03-F54A-90FF-A1764A55426F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57C3FF54-368F-9E41-8EE2-8B4955C54FBB}" type="sibTrans" cxnId="{614EABDF-AF03-F54A-90FF-A1764A55426F}">
      <dgm:prSet/>
      <dgm:spPr/>
      <dgm:t>
        <a:bodyPr/>
        <a:lstStyle/>
        <a:p>
          <a:endParaRPr lang="en-US"/>
        </a:p>
      </dgm:t>
    </dgm:pt>
    <dgm:pt modelId="{E9D4B1BA-E56F-E845-A2CA-D786D1B70A79}">
      <dgm:prSet custT="1"/>
      <dgm:spPr>
        <a:solidFill>
          <a:srgbClr val="9EDCED"/>
        </a:solidFill>
      </dgm:spPr>
      <dgm:t>
        <a:bodyPr/>
        <a:lstStyle/>
        <a:p>
          <a:pPr>
            <a:lnSpc>
              <a:spcPts val="1200"/>
            </a:lnSpc>
            <a:spcAft>
              <a:spcPts val="0"/>
            </a:spcAft>
          </a:pPr>
          <a:endParaRPr lang="en-US" sz="1200" dirty="0">
            <a:solidFill>
              <a:srgbClr val="001E60"/>
            </a:solidFill>
          </a:endParaRPr>
        </a:p>
      </dgm:t>
    </dgm:pt>
    <dgm:pt modelId="{1F61939E-548E-E94B-8F57-FA02F457E408}" type="parTrans" cxnId="{46B9C5AB-743D-CC4B-A181-E281EC4B2B82}">
      <dgm:prSet/>
      <dgm:spPr>
        <a:ln w="38100">
          <a:solidFill>
            <a:srgbClr val="DBD0B1"/>
          </a:solidFill>
        </a:ln>
      </dgm:spPr>
      <dgm:t>
        <a:bodyPr/>
        <a:lstStyle/>
        <a:p>
          <a:endParaRPr lang="en-US"/>
        </a:p>
      </dgm:t>
    </dgm:pt>
    <dgm:pt modelId="{1DD3BA73-DB94-D241-AA38-D930A2378B97}" type="sibTrans" cxnId="{46B9C5AB-743D-CC4B-A181-E281EC4B2B82}">
      <dgm:prSet/>
      <dgm:spPr/>
      <dgm:t>
        <a:bodyPr/>
        <a:lstStyle/>
        <a:p>
          <a:endParaRPr lang="en-US"/>
        </a:p>
      </dgm:t>
    </dgm:pt>
    <dgm:pt modelId="{CB4B3474-AD81-E94E-9B26-C5C4664DA26A}" type="pres">
      <dgm:prSet presAssocID="{4D4B35EA-DB30-7B42-934F-33FC24BB1B6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0CCF3E2-DCDA-7142-ABCF-E7F3D4330285}" type="pres">
      <dgm:prSet presAssocID="{948AE4B0-1BCC-AB4A-9B46-4865FDE1B2C1}" presName="hierRoot1" presStyleCnt="0">
        <dgm:presLayoutVars>
          <dgm:hierBranch val="init"/>
        </dgm:presLayoutVars>
      </dgm:prSet>
      <dgm:spPr/>
    </dgm:pt>
    <dgm:pt modelId="{4F47AF02-C8D7-7F4C-A555-A10C4D551230}" type="pres">
      <dgm:prSet presAssocID="{948AE4B0-1BCC-AB4A-9B46-4865FDE1B2C1}" presName="rootComposite1" presStyleCnt="0"/>
      <dgm:spPr/>
    </dgm:pt>
    <dgm:pt modelId="{898CCE05-E0A0-C144-A11E-615A0FC76509}" type="pres">
      <dgm:prSet presAssocID="{948AE4B0-1BCC-AB4A-9B46-4865FDE1B2C1}" presName="rootText1" presStyleLbl="node0" presStyleIdx="0" presStyleCnt="1" custScaleX="133185" custScaleY="109931">
        <dgm:presLayoutVars>
          <dgm:chPref val="3"/>
        </dgm:presLayoutVars>
      </dgm:prSet>
      <dgm:spPr/>
    </dgm:pt>
    <dgm:pt modelId="{5D425117-9921-EC4A-941E-EF9D63F4DEAD}" type="pres">
      <dgm:prSet presAssocID="{948AE4B0-1BCC-AB4A-9B46-4865FDE1B2C1}" presName="rootConnector1" presStyleLbl="node1" presStyleIdx="0" presStyleCnt="0"/>
      <dgm:spPr/>
    </dgm:pt>
    <dgm:pt modelId="{A3B934C2-402D-BD4F-B459-792093EAF823}" type="pres">
      <dgm:prSet presAssocID="{948AE4B0-1BCC-AB4A-9B46-4865FDE1B2C1}" presName="hierChild2" presStyleCnt="0"/>
      <dgm:spPr/>
    </dgm:pt>
    <dgm:pt modelId="{36C12508-2F10-DC47-B606-DF9816231661}" type="pres">
      <dgm:prSet presAssocID="{FFAB1B66-F7B5-BB48-9E2C-DA7960CA9BBE}" presName="Name37" presStyleLbl="parChTrans1D2" presStyleIdx="0" presStyleCnt="7"/>
      <dgm:spPr/>
    </dgm:pt>
    <dgm:pt modelId="{5F1E3F31-DF83-724E-BE55-7FE09A605B8D}" type="pres">
      <dgm:prSet presAssocID="{A9ACA9EB-B84D-2846-9E8B-A13BD14B40F5}" presName="hierRoot2" presStyleCnt="0">
        <dgm:presLayoutVars>
          <dgm:hierBranch val="init"/>
        </dgm:presLayoutVars>
      </dgm:prSet>
      <dgm:spPr/>
    </dgm:pt>
    <dgm:pt modelId="{FCA65B40-0DA7-CA42-81A1-F5F397CE9F6A}" type="pres">
      <dgm:prSet presAssocID="{A9ACA9EB-B84D-2846-9E8B-A13BD14B40F5}" presName="rootComposite" presStyleCnt="0"/>
      <dgm:spPr/>
    </dgm:pt>
    <dgm:pt modelId="{9E748DB3-6FA8-F247-AE7A-72990DE91228}" type="pres">
      <dgm:prSet presAssocID="{A9ACA9EB-B84D-2846-9E8B-A13BD14B40F5}" presName="rootText" presStyleLbl="node2" presStyleIdx="0" presStyleCnt="7" custScaleX="111663">
        <dgm:presLayoutVars>
          <dgm:chPref val="3"/>
        </dgm:presLayoutVars>
      </dgm:prSet>
      <dgm:spPr/>
    </dgm:pt>
    <dgm:pt modelId="{40F5A796-628E-ED4E-B020-2CD9A1A88D42}" type="pres">
      <dgm:prSet presAssocID="{A9ACA9EB-B84D-2846-9E8B-A13BD14B40F5}" presName="rootConnector" presStyleLbl="node2" presStyleIdx="0" presStyleCnt="7"/>
      <dgm:spPr/>
    </dgm:pt>
    <dgm:pt modelId="{D25DD315-B57C-DD40-BF96-13C3D308F89C}" type="pres">
      <dgm:prSet presAssocID="{A9ACA9EB-B84D-2846-9E8B-A13BD14B40F5}" presName="hierChild4" presStyleCnt="0"/>
      <dgm:spPr/>
    </dgm:pt>
    <dgm:pt modelId="{2A466297-53A0-B14E-B87E-50A614C1B68B}" type="pres">
      <dgm:prSet presAssocID="{A9ACA9EB-B84D-2846-9E8B-A13BD14B40F5}" presName="hierChild5" presStyleCnt="0"/>
      <dgm:spPr/>
    </dgm:pt>
    <dgm:pt modelId="{35DBDF11-AA14-5D43-BB48-72173D8DC694}" type="pres">
      <dgm:prSet presAssocID="{FB17B79E-8FB6-4043-9398-0EBBF8968416}" presName="Name37" presStyleLbl="parChTrans1D2" presStyleIdx="1" presStyleCnt="7"/>
      <dgm:spPr/>
    </dgm:pt>
    <dgm:pt modelId="{4866374A-11DB-F94A-AAD8-A06E5C73C1FB}" type="pres">
      <dgm:prSet presAssocID="{4DF60E9C-29CA-AE4F-AE33-B0EF4E7C4E7D}" presName="hierRoot2" presStyleCnt="0">
        <dgm:presLayoutVars>
          <dgm:hierBranch val="init"/>
        </dgm:presLayoutVars>
      </dgm:prSet>
      <dgm:spPr/>
    </dgm:pt>
    <dgm:pt modelId="{089691D4-F74B-A543-9177-72498D35DD0B}" type="pres">
      <dgm:prSet presAssocID="{4DF60E9C-29CA-AE4F-AE33-B0EF4E7C4E7D}" presName="rootComposite" presStyleCnt="0"/>
      <dgm:spPr/>
    </dgm:pt>
    <dgm:pt modelId="{513FBF3B-58A6-964A-B604-8C40C0753FA6}" type="pres">
      <dgm:prSet presAssocID="{4DF60E9C-29CA-AE4F-AE33-B0EF4E7C4E7D}" presName="rootText" presStyleLbl="node2" presStyleIdx="1" presStyleCnt="7" custScaleX="111663">
        <dgm:presLayoutVars>
          <dgm:chPref val="3"/>
        </dgm:presLayoutVars>
      </dgm:prSet>
      <dgm:spPr/>
    </dgm:pt>
    <dgm:pt modelId="{953E070E-CCAA-6F44-A8CA-74BF27AB8B1A}" type="pres">
      <dgm:prSet presAssocID="{4DF60E9C-29CA-AE4F-AE33-B0EF4E7C4E7D}" presName="rootConnector" presStyleLbl="node2" presStyleIdx="1" presStyleCnt="7"/>
      <dgm:spPr/>
    </dgm:pt>
    <dgm:pt modelId="{8CA9D6CF-7A27-1045-B336-325570168419}" type="pres">
      <dgm:prSet presAssocID="{4DF60E9C-29CA-AE4F-AE33-B0EF4E7C4E7D}" presName="hierChild4" presStyleCnt="0"/>
      <dgm:spPr/>
    </dgm:pt>
    <dgm:pt modelId="{4D4C342E-D36D-9946-92F4-6DB2776E5DD2}" type="pres">
      <dgm:prSet presAssocID="{A87B063D-BE1B-CB4D-A6DB-04DE510FF8D2}" presName="Name37" presStyleLbl="parChTrans1D3" presStyleIdx="0" presStyleCnt="4"/>
      <dgm:spPr/>
    </dgm:pt>
    <dgm:pt modelId="{07BE2E90-3561-4847-9956-818AF2EF8E12}" type="pres">
      <dgm:prSet presAssocID="{842F5A2B-191E-694E-986D-B32D2F7E0ACE}" presName="hierRoot2" presStyleCnt="0">
        <dgm:presLayoutVars>
          <dgm:hierBranch val="init"/>
        </dgm:presLayoutVars>
      </dgm:prSet>
      <dgm:spPr/>
    </dgm:pt>
    <dgm:pt modelId="{5EF1EE9C-82A7-2D48-BD09-48157CD300A4}" type="pres">
      <dgm:prSet presAssocID="{842F5A2B-191E-694E-986D-B32D2F7E0ACE}" presName="rootComposite" presStyleCnt="0"/>
      <dgm:spPr/>
    </dgm:pt>
    <dgm:pt modelId="{59BC45B9-F8EE-9640-A1FA-254805B9870A}" type="pres">
      <dgm:prSet presAssocID="{842F5A2B-191E-694E-986D-B32D2F7E0ACE}" presName="rootText" presStyleLbl="node3" presStyleIdx="0" presStyleCnt="4" custScaleX="114485">
        <dgm:presLayoutVars>
          <dgm:chPref val="3"/>
        </dgm:presLayoutVars>
      </dgm:prSet>
      <dgm:spPr/>
    </dgm:pt>
    <dgm:pt modelId="{97EF03B2-F06F-3E46-B913-0ABFFC22105B}" type="pres">
      <dgm:prSet presAssocID="{842F5A2B-191E-694E-986D-B32D2F7E0ACE}" presName="rootConnector" presStyleLbl="node3" presStyleIdx="0" presStyleCnt="4"/>
      <dgm:spPr/>
    </dgm:pt>
    <dgm:pt modelId="{F685D09F-3C26-2C41-9294-7BC6B848DCE3}" type="pres">
      <dgm:prSet presAssocID="{842F5A2B-191E-694E-986D-B32D2F7E0ACE}" presName="hierChild4" presStyleCnt="0"/>
      <dgm:spPr/>
    </dgm:pt>
    <dgm:pt modelId="{CDAFCBB0-22D0-FE45-AB0F-13B1E2A3969B}" type="pres">
      <dgm:prSet presAssocID="{842F5A2B-191E-694E-986D-B32D2F7E0ACE}" presName="hierChild5" presStyleCnt="0"/>
      <dgm:spPr/>
    </dgm:pt>
    <dgm:pt modelId="{77A44923-1B51-EA4B-995A-EA30655E634F}" type="pres">
      <dgm:prSet presAssocID="{7CF122D2-F738-4D4D-B630-8BA0CF61EA32}" presName="Name37" presStyleLbl="parChTrans1D3" presStyleIdx="1" presStyleCnt="4"/>
      <dgm:spPr/>
    </dgm:pt>
    <dgm:pt modelId="{C8678D61-7312-CA4E-8B62-763BDFCE596F}" type="pres">
      <dgm:prSet presAssocID="{F744F54C-4AC3-9545-B7F3-A0D07D83F3C5}" presName="hierRoot2" presStyleCnt="0">
        <dgm:presLayoutVars>
          <dgm:hierBranch val="init"/>
        </dgm:presLayoutVars>
      </dgm:prSet>
      <dgm:spPr/>
    </dgm:pt>
    <dgm:pt modelId="{A1453472-21F9-5344-82AF-DE1624648CCC}" type="pres">
      <dgm:prSet presAssocID="{F744F54C-4AC3-9545-B7F3-A0D07D83F3C5}" presName="rootComposite" presStyleCnt="0"/>
      <dgm:spPr/>
    </dgm:pt>
    <dgm:pt modelId="{229AD77C-86C3-8C47-936D-E022541781A3}" type="pres">
      <dgm:prSet presAssocID="{F744F54C-4AC3-9545-B7F3-A0D07D83F3C5}" presName="rootText" presStyleLbl="node3" presStyleIdx="1" presStyleCnt="4" custScaleX="114485">
        <dgm:presLayoutVars>
          <dgm:chPref val="3"/>
        </dgm:presLayoutVars>
      </dgm:prSet>
      <dgm:spPr/>
    </dgm:pt>
    <dgm:pt modelId="{E196452D-2852-1C40-A09F-7CBE5E98DB8A}" type="pres">
      <dgm:prSet presAssocID="{F744F54C-4AC3-9545-B7F3-A0D07D83F3C5}" presName="rootConnector" presStyleLbl="node3" presStyleIdx="1" presStyleCnt="4"/>
      <dgm:spPr/>
    </dgm:pt>
    <dgm:pt modelId="{20F4E1CC-86CC-2D4C-8EDB-B03306200C59}" type="pres">
      <dgm:prSet presAssocID="{F744F54C-4AC3-9545-B7F3-A0D07D83F3C5}" presName="hierChild4" presStyleCnt="0"/>
      <dgm:spPr/>
    </dgm:pt>
    <dgm:pt modelId="{5F37B83C-C9CF-144F-88EC-F99728EBD5F8}" type="pres">
      <dgm:prSet presAssocID="{F744F54C-4AC3-9545-B7F3-A0D07D83F3C5}" presName="hierChild5" presStyleCnt="0"/>
      <dgm:spPr/>
    </dgm:pt>
    <dgm:pt modelId="{17C8963F-06E3-0C49-B705-7F00CBB1DE20}" type="pres">
      <dgm:prSet presAssocID="{4DF60E9C-29CA-AE4F-AE33-B0EF4E7C4E7D}" presName="hierChild5" presStyleCnt="0"/>
      <dgm:spPr/>
    </dgm:pt>
    <dgm:pt modelId="{0080CB70-4F50-0746-8E8B-06965386AE63}" type="pres">
      <dgm:prSet presAssocID="{9BD64807-57F2-394E-9A2F-B0B9D909F833}" presName="Name37" presStyleLbl="parChTrans1D2" presStyleIdx="2" presStyleCnt="7"/>
      <dgm:spPr/>
    </dgm:pt>
    <dgm:pt modelId="{BCC5B979-FE63-834E-A244-08C8C0EA4A0B}" type="pres">
      <dgm:prSet presAssocID="{77BD5296-776C-9D48-8A83-1DE730224121}" presName="hierRoot2" presStyleCnt="0">
        <dgm:presLayoutVars>
          <dgm:hierBranch val="init"/>
        </dgm:presLayoutVars>
      </dgm:prSet>
      <dgm:spPr/>
    </dgm:pt>
    <dgm:pt modelId="{AC467A77-4128-3542-9AF2-44F825B9EFCF}" type="pres">
      <dgm:prSet presAssocID="{77BD5296-776C-9D48-8A83-1DE730224121}" presName="rootComposite" presStyleCnt="0"/>
      <dgm:spPr/>
    </dgm:pt>
    <dgm:pt modelId="{5D6BCE1F-65F9-A047-BC2C-A11C0CFD7AF9}" type="pres">
      <dgm:prSet presAssocID="{77BD5296-776C-9D48-8A83-1DE730224121}" presName="rootText" presStyleLbl="node2" presStyleIdx="2" presStyleCnt="7" custScaleX="111663">
        <dgm:presLayoutVars>
          <dgm:chPref val="3"/>
        </dgm:presLayoutVars>
      </dgm:prSet>
      <dgm:spPr/>
    </dgm:pt>
    <dgm:pt modelId="{F856332F-600A-F841-935E-EA60730F3966}" type="pres">
      <dgm:prSet presAssocID="{77BD5296-776C-9D48-8A83-1DE730224121}" presName="rootConnector" presStyleLbl="node2" presStyleIdx="2" presStyleCnt="7"/>
      <dgm:spPr/>
    </dgm:pt>
    <dgm:pt modelId="{A522B484-154A-6E4A-93D5-3F0D1DEC379C}" type="pres">
      <dgm:prSet presAssocID="{77BD5296-776C-9D48-8A83-1DE730224121}" presName="hierChild4" presStyleCnt="0"/>
      <dgm:spPr/>
    </dgm:pt>
    <dgm:pt modelId="{0B751A8E-3CA1-ED4F-B227-0106A744CB4E}" type="pres">
      <dgm:prSet presAssocID="{77BD5296-776C-9D48-8A83-1DE730224121}" presName="hierChild5" presStyleCnt="0"/>
      <dgm:spPr/>
    </dgm:pt>
    <dgm:pt modelId="{0F8AFE80-63D5-2F4D-9B31-D67919975158}" type="pres">
      <dgm:prSet presAssocID="{80A49050-836C-F04F-9BC7-8E5BC42FE4C8}" presName="Name37" presStyleLbl="parChTrans1D2" presStyleIdx="3" presStyleCnt="7"/>
      <dgm:spPr/>
    </dgm:pt>
    <dgm:pt modelId="{89DE45FC-9905-064B-B0B6-CC4D8FBA6247}" type="pres">
      <dgm:prSet presAssocID="{6CEB43B6-EBD8-BB48-90C5-244C7429DB21}" presName="hierRoot2" presStyleCnt="0">
        <dgm:presLayoutVars>
          <dgm:hierBranch val="init"/>
        </dgm:presLayoutVars>
      </dgm:prSet>
      <dgm:spPr/>
    </dgm:pt>
    <dgm:pt modelId="{1F295C89-8F6C-614B-A2E9-4D1E369231D2}" type="pres">
      <dgm:prSet presAssocID="{6CEB43B6-EBD8-BB48-90C5-244C7429DB21}" presName="rootComposite" presStyleCnt="0"/>
      <dgm:spPr/>
    </dgm:pt>
    <dgm:pt modelId="{C1849C4C-18D4-BD4D-A37A-3C58EED3A1CA}" type="pres">
      <dgm:prSet presAssocID="{6CEB43B6-EBD8-BB48-90C5-244C7429DB21}" presName="rootText" presStyleLbl="node2" presStyleIdx="3" presStyleCnt="7" custScaleX="111663">
        <dgm:presLayoutVars>
          <dgm:chPref val="3"/>
        </dgm:presLayoutVars>
      </dgm:prSet>
      <dgm:spPr/>
    </dgm:pt>
    <dgm:pt modelId="{38BF8C5F-6048-534F-9ADB-1DE10873218D}" type="pres">
      <dgm:prSet presAssocID="{6CEB43B6-EBD8-BB48-90C5-244C7429DB21}" presName="rootConnector" presStyleLbl="node2" presStyleIdx="3" presStyleCnt="7"/>
      <dgm:spPr/>
    </dgm:pt>
    <dgm:pt modelId="{9205AF80-9462-E246-85C2-85DC0B9C231C}" type="pres">
      <dgm:prSet presAssocID="{6CEB43B6-EBD8-BB48-90C5-244C7429DB21}" presName="hierChild4" presStyleCnt="0"/>
      <dgm:spPr/>
    </dgm:pt>
    <dgm:pt modelId="{01BCA6C4-235B-4446-A381-9A637B6B62CC}" type="pres">
      <dgm:prSet presAssocID="{6CEB43B6-EBD8-BB48-90C5-244C7429DB21}" presName="hierChild5" presStyleCnt="0"/>
      <dgm:spPr/>
    </dgm:pt>
    <dgm:pt modelId="{25E69261-B1F3-E94F-B719-6BB569E0E72F}" type="pres">
      <dgm:prSet presAssocID="{FF89A53B-3F2E-154B-85E0-B3273FE42CBE}" presName="Name37" presStyleLbl="parChTrans1D2" presStyleIdx="4" presStyleCnt="7"/>
      <dgm:spPr/>
    </dgm:pt>
    <dgm:pt modelId="{FFD02FE6-4010-1C41-A575-0027006B494D}" type="pres">
      <dgm:prSet presAssocID="{17D40663-165F-2643-9CE3-613E173FDCAB}" presName="hierRoot2" presStyleCnt="0">
        <dgm:presLayoutVars>
          <dgm:hierBranch val="init"/>
        </dgm:presLayoutVars>
      </dgm:prSet>
      <dgm:spPr/>
    </dgm:pt>
    <dgm:pt modelId="{7A86D60B-FA15-FE40-A7AD-3F7A926ABB6E}" type="pres">
      <dgm:prSet presAssocID="{17D40663-165F-2643-9CE3-613E173FDCAB}" presName="rootComposite" presStyleCnt="0"/>
      <dgm:spPr/>
    </dgm:pt>
    <dgm:pt modelId="{D0141F9F-CD2A-8147-B934-DB354D9ED7CB}" type="pres">
      <dgm:prSet presAssocID="{17D40663-165F-2643-9CE3-613E173FDCAB}" presName="rootText" presStyleLbl="node2" presStyleIdx="4" presStyleCnt="7" custScaleX="111663">
        <dgm:presLayoutVars>
          <dgm:chPref val="3"/>
        </dgm:presLayoutVars>
      </dgm:prSet>
      <dgm:spPr/>
    </dgm:pt>
    <dgm:pt modelId="{C31ACD69-BBBE-8543-97A1-2AD08FB7A468}" type="pres">
      <dgm:prSet presAssocID="{17D40663-165F-2643-9CE3-613E173FDCAB}" presName="rootConnector" presStyleLbl="node2" presStyleIdx="4" presStyleCnt="7"/>
      <dgm:spPr/>
    </dgm:pt>
    <dgm:pt modelId="{3F4515D3-2B40-D74E-80AA-08FE2BBA1A36}" type="pres">
      <dgm:prSet presAssocID="{17D40663-165F-2643-9CE3-613E173FDCAB}" presName="hierChild4" presStyleCnt="0"/>
      <dgm:spPr/>
    </dgm:pt>
    <dgm:pt modelId="{8D2D6905-9E46-ED49-BE0D-6007F696DF5A}" type="pres">
      <dgm:prSet presAssocID="{17D40663-165F-2643-9CE3-613E173FDCAB}" presName="hierChild5" presStyleCnt="0"/>
      <dgm:spPr/>
    </dgm:pt>
    <dgm:pt modelId="{BA18D4AC-8408-0B4F-81B1-57EBE6E14471}" type="pres">
      <dgm:prSet presAssocID="{9A399D2C-2F4D-1A46-9E8B-0FD58D3D00CD}" presName="Name37" presStyleLbl="parChTrans1D2" presStyleIdx="5" presStyleCnt="7"/>
      <dgm:spPr/>
    </dgm:pt>
    <dgm:pt modelId="{80747F49-87C9-2C43-B42D-C1B22C6F8B2F}" type="pres">
      <dgm:prSet presAssocID="{7E7EA13D-1C5B-8C49-B368-D558A42C5EEF}" presName="hierRoot2" presStyleCnt="0">
        <dgm:presLayoutVars>
          <dgm:hierBranch val="init"/>
        </dgm:presLayoutVars>
      </dgm:prSet>
      <dgm:spPr/>
    </dgm:pt>
    <dgm:pt modelId="{73DB231E-9BF7-BD49-B904-BE428189080F}" type="pres">
      <dgm:prSet presAssocID="{7E7EA13D-1C5B-8C49-B368-D558A42C5EEF}" presName="rootComposite" presStyleCnt="0"/>
      <dgm:spPr/>
    </dgm:pt>
    <dgm:pt modelId="{76E298FD-B13B-B04D-87F9-988ED059669B}" type="pres">
      <dgm:prSet presAssocID="{7E7EA13D-1C5B-8C49-B368-D558A42C5EEF}" presName="rootText" presStyleLbl="node2" presStyleIdx="5" presStyleCnt="7" custScaleX="111663">
        <dgm:presLayoutVars>
          <dgm:chPref val="3"/>
        </dgm:presLayoutVars>
      </dgm:prSet>
      <dgm:spPr/>
    </dgm:pt>
    <dgm:pt modelId="{9D6C60DC-A459-7748-90AF-6B8F09124AA8}" type="pres">
      <dgm:prSet presAssocID="{7E7EA13D-1C5B-8C49-B368-D558A42C5EEF}" presName="rootConnector" presStyleLbl="node2" presStyleIdx="5" presStyleCnt="7"/>
      <dgm:spPr/>
    </dgm:pt>
    <dgm:pt modelId="{C46DB5F2-56C2-6F45-92AE-6A5DE2FC4B3B}" type="pres">
      <dgm:prSet presAssocID="{7E7EA13D-1C5B-8C49-B368-D558A42C5EEF}" presName="hierChild4" presStyleCnt="0"/>
      <dgm:spPr/>
    </dgm:pt>
    <dgm:pt modelId="{466BD9E2-2AF3-5345-9DDB-9F69EE945456}" type="pres">
      <dgm:prSet presAssocID="{70EC2D8B-2A12-1F41-A4D4-9555C8DE5151}" presName="Name37" presStyleLbl="parChTrans1D3" presStyleIdx="2" presStyleCnt="4"/>
      <dgm:spPr/>
    </dgm:pt>
    <dgm:pt modelId="{FAECFEBC-66B1-224F-9940-40527301B96F}" type="pres">
      <dgm:prSet presAssocID="{DB9FEF5F-0573-8244-B171-3768546FF2A4}" presName="hierRoot2" presStyleCnt="0">
        <dgm:presLayoutVars>
          <dgm:hierBranch val="init"/>
        </dgm:presLayoutVars>
      </dgm:prSet>
      <dgm:spPr/>
    </dgm:pt>
    <dgm:pt modelId="{363A0907-DAC6-F14D-82FC-2B0EEDAD311F}" type="pres">
      <dgm:prSet presAssocID="{DB9FEF5F-0573-8244-B171-3768546FF2A4}" presName="rootComposite" presStyleCnt="0"/>
      <dgm:spPr/>
    </dgm:pt>
    <dgm:pt modelId="{8667DB7B-B743-5A4A-A4E9-08728C7A94BB}" type="pres">
      <dgm:prSet presAssocID="{DB9FEF5F-0573-8244-B171-3768546FF2A4}" presName="rootText" presStyleLbl="node3" presStyleIdx="2" presStyleCnt="4" custScaleX="111267" custLinFactNeighborX="0">
        <dgm:presLayoutVars>
          <dgm:chPref val="3"/>
        </dgm:presLayoutVars>
      </dgm:prSet>
      <dgm:spPr/>
    </dgm:pt>
    <dgm:pt modelId="{B5858537-0A71-3B48-8334-4E9927987A5B}" type="pres">
      <dgm:prSet presAssocID="{DB9FEF5F-0573-8244-B171-3768546FF2A4}" presName="rootConnector" presStyleLbl="node3" presStyleIdx="2" presStyleCnt="4"/>
      <dgm:spPr/>
    </dgm:pt>
    <dgm:pt modelId="{AE31E228-099B-7146-8358-10F606E9C5A9}" type="pres">
      <dgm:prSet presAssocID="{DB9FEF5F-0573-8244-B171-3768546FF2A4}" presName="hierChild4" presStyleCnt="0"/>
      <dgm:spPr/>
    </dgm:pt>
    <dgm:pt modelId="{C6CBE226-5CF2-9146-928C-7635B02778D9}" type="pres">
      <dgm:prSet presAssocID="{DB9FEF5F-0573-8244-B171-3768546FF2A4}" presName="hierChild5" presStyleCnt="0"/>
      <dgm:spPr/>
    </dgm:pt>
    <dgm:pt modelId="{495BBE7F-C507-4849-8469-C76666AF9B77}" type="pres">
      <dgm:prSet presAssocID="{1F61939E-548E-E94B-8F57-FA02F457E408}" presName="Name37" presStyleLbl="parChTrans1D3" presStyleIdx="3" presStyleCnt="4"/>
      <dgm:spPr/>
    </dgm:pt>
    <dgm:pt modelId="{F9BF798E-F765-3E4C-9A51-C67B85560A68}" type="pres">
      <dgm:prSet presAssocID="{E9D4B1BA-E56F-E845-A2CA-D786D1B70A79}" presName="hierRoot2" presStyleCnt="0">
        <dgm:presLayoutVars>
          <dgm:hierBranch val="init"/>
        </dgm:presLayoutVars>
      </dgm:prSet>
      <dgm:spPr/>
    </dgm:pt>
    <dgm:pt modelId="{F58FF077-7C40-154A-8E87-79B9BCE8423A}" type="pres">
      <dgm:prSet presAssocID="{E9D4B1BA-E56F-E845-A2CA-D786D1B70A79}" presName="rootComposite" presStyleCnt="0"/>
      <dgm:spPr/>
    </dgm:pt>
    <dgm:pt modelId="{A76A1AEC-724B-9044-9D7D-8AA126C2EDDF}" type="pres">
      <dgm:prSet presAssocID="{E9D4B1BA-E56F-E845-A2CA-D786D1B70A79}" presName="rootText" presStyleLbl="node3" presStyleIdx="3" presStyleCnt="4" custScaleX="111267">
        <dgm:presLayoutVars>
          <dgm:chPref val="3"/>
        </dgm:presLayoutVars>
      </dgm:prSet>
      <dgm:spPr/>
    </dgm:pt>
    <dgm:pt modelId="{E08B28CA-CC8B-C443-9626-77F12BD3C206}" type="pres">
      <dgm:prSet presAssocID="{E9D4B1BA-E56F-E845-A2CA-D786D1B70A79}" presName="rootConnector" presStyleLbl="node3" presStyleIdx="3" presStyleCnt="4"/>
      <dgm:spPr/>
    </dgm:pt>
    <dgm:pt modelId="{70C6CE76-81FD-0049-8E6F-BB0AD4385388}" type="pres">
      <dgm:prSet presAssocID="{E9D4B1BA-E56F-E845-A2CA-D786D1B70A79}" presName="hierChild4" presStyleCnt="0"/>
      <dgm:spPr/>
    </dgm:pt>
    <dgm:pt modelId="{5F488FA5-2934-5640-B8EA-C0F55AE39E72}" type="pres">
      <dgm:prSet presAssocID="{E9D4B1BA-E56F-E845-A2CA-D786D1B70A79}" presName="hierChild5" presStyleCnt="0"/>
      <dgm:spPr/>
    </dgm:pt>
    <dgm:pt modelId="{6408BA23-2A1D-2E45-B3EC-6CA435C40110}" type="pres">
      <dgm:prSet presAssocID="{7E7EA13D-1C5B-8C49-B368-D558A42C5EEF}" presName="hierChild5" presStyleCnt="0"/>
      <dgm:spPr/>
    </dgm:pt>
    <dgm:pt modelId="{F04814B3-18C8-954A-B370-2ECFA2BDB7F6}" type="pres">
      <dgm:prSet presAssocID="{811F11F1-11E8-DB4C-BD71-05FC2B5079E7}" presName="Name37" presStyleLbl="parChTrans1D2" presStyleIdx="6" presStyleCnt="7"/>
      <dgm:spPr/>
    </dgm:pt>
    <dgm:pt modelId="{DD49724C-6E37-E74F-98A1-E71A9CF572DB}" type="pres">
      <dgm:prSet presAssocID="{FBCCEF22-C4F7-7842-BD7D-4B9BA9E2AED8}" presName="hierRoot2" presStyleCnt="0">
        <dgm:presLayoutVars>
          <dgm:hierBranch val="init"/>
        </dgm:presLayoutVars>
      </dgm:prSet>
      <dgm:spPr/>
    </dgm:pt>
    <dgm:pt modelId="{BE78543E-1488-294D-8779-A9EE698D75EC}" type="pres">
      <dgm:prSet presAssocID="{FBCCEF22-C4F7-7842-BD7D-4B9BA9E2AED8}" presName="rootComposite" presStyleCnt="0"/>
      <dgm:spPr/>
    </dgm:pt>
    <dgm:pt modelId="{864108D1-1220-A64E-BDBB-2C96ABF60017}" type="pres">
      <dgm:prSet presAssocID="{FBCCEF22-C4F7-7842-BD7D-4B9BA9E2AED8}" presName="rootText" presStyleLbl="node2" presStyleIdx="6" presStyleCnt="7" custScaleX="111663">
        <dgm:presLayoutVars>
          <dgm:chPref val="3"/>
        </dgm:presLayoutVars>
      </dgm:prSet>
      <dgm:spPr/>
    </dgm:pt>
    <dgm:pt modelId="{08F3A9B4-62DE-054E-8301-EA0028229EDE}" type="pres">
      <dgm:prSet presAssocID="{FBCCEF22-C4F7-7842-BD7D-4B9BA9E2AED8}" presName="rootConnector" presStyleLbl="node2" presStyleIdx="6" presStyleCnt="7"/>
      <dgm:spPr/>
    </dgm:pt>
    <dgm:pt modelId="{69716AE6-EDE9-DB42-BC46-4F321E42ED64}" type="pres">
      <dgm:prSet presAssocID="{FBCCEF22-C4F7-7842-BD7D-4B9BA9E2AED8}" presName="hierChild4" presStyleCnt="0"/>
      <dgm:spPr/>
    </dgm:pt>
    <dgm:pt modelId="{6E42935D-133F-C643-9D34-63B5BA4CD3A1}" type="pres">
      <dgm:prSet presAssocID="{FBCCEF22-C4F7-7842-BD7D-4B9BA9E2AED8}" presName="hierChild5" presStyleCnt="0"/>
      <dgm:spPr/>
    </dgm:pt>
    <dgm:pt modelId="{C343E3E1-139E-B84C-8C0A-1E63792EC541}" type="pres">
      <dgm:prSet presAssocID="{948AE4B0-1BCC-AB4A-9B46-4865FDE1B2C1}" presName="hierChild3" presStyleCnt="0"/>
      <dgm:spPr/>
    </dgm:pt>
  </dgm:ptLst>
  <dgm:cxnLst>
    <dgm:cxn modelId="{5E834500-F321-0042-8857-59C56842EA8E}" srcId="{948AE4B0-1BCC-AB4A-9B46-4865FDE1B2C1}" destId="{A9ACA9EB-B84D-2846-9E8B-A13BD14B40F5}" srcOrd="0" destOrd="0" parTransId="{FFAB1B66-F7B5-BB48-9E2C-DA7960CA9BBE}" sibTransId="{0E8F6BFC-F5C8-CC4B-BDE1-8FFBE50B7D16}"/>
    <dgm:cxn modelId="{1E5D4309-678B-6048-9638-7B84E71C945D}" type="presOf" srcId="{7CF122D2-F738-4D4D-B630-8BA0CF61EA32}" destId="{77A44923-1B51-EA4B-995A-EA30655E634F}" srcOrd="0" destOrd="0" presId="urn:microsoft.com/office/officeart/2005/8/layout/orgChart1"/>
    <dgm:cxn modelId="{054F740F-ED7D-3A45-BAD4-2819D2902DC5}" srcId="{948AE4B0-1BCC-AB4A-9B46-4865FDE1B2C1}" destId="{17D40663-165F-2643-9CE3-613E173FDCAB}" srcOrd="4" destOrd="0" parTransId="{FF89A53B-3F2E-154B-85E0-B3273FE42CBE}" sibTransId="{1C403998-F371-674D-BF4F-68F2BF06745B}"/>
    <dgm:cxn modelId="{D8FD2615-0F52-E540-B391-34972416A089}" type="presOf" srcId="{DB9FEF5F-0573-8244-B171-3768546FF2A4}" destId="{8667DB7B-B743-5A4A-A4E9-08728C7A94BB}" srcOrd="0" destOrd="0" presId="urn:microsoft.com/office/officeart/2005/8/layout/orgChart1"/>
    <dgm:cxn modelId="{3484ED15-E90B-D849-949E-6690F5EAE959}" srcId="{4D4B35EA-DB30-7B42-934F-33FC24BB1B60}" destId="{948AE4B0-1BCC-AB4A-9B46-4865FDE1B2C1}" srcOrd="0" destOrd="0" parTransId="{C80332F7-55BD-6841-955C-A33F55FE87E5}" sibTransId="{3590813E-0A2C-5444-A4C3-EB236D63E1B4}"/>
    <dgm:cxn modelId="{63C58B16-4296-574E-899D-6E7B242CE70A}" type="presOf" srcId="{F744F54C-4AC3-9545-B7F3-A0D07D83F3C5}" destId="{E196452D-2852-1C40-A09F-7CBE5E98DB8A}" srcOrd="1" destOrd="0" presId="urn:microsoft.com/office/officeart/2005/8/layout/orgChart1"/>
    <dgm:cxn modelId="{20064C28-787F-FF4A-905E-0C7D2F214016}" type="presOf" srcId="{77BD5296-776C-9D48-8A83-1DE730224121}" destId="{5D6BCE1F-65F9-A047-BC2C-A11C0CFD7AF9}" srcOrd="0" destOrd="0" presId="urn:microsoft.com/office/officeart/2005/8/layout/orgChart1"/>
    <dgm:cxn modelId="{CDBAFD2B-CD2D-184A-BF47-4B944181B381}" type="presOf" srcId="{A87B063D-BE1B-CB4D-A6DB-04DE510FF8D2}" destId="{4D4C342E-D36D-9946-92F4-6DB2776E5DD2}" srcOrd="0" destOrd="0" presId="urn:microsoft.com/office/officeart/2005/8/layout/orgChart1"/>
    <dgm:cxn modelId="{5A09BE33-35C0-7E4C-B7F6-77DDBDBE138A}" type="presOf" srcId="{4D4B35EA-DB30-7B42-934F-33FC24BB1B60}" destId="{CB4B3474-AD81-E94E-9B26-C5C4664DA26A}" srcOrd="0" destOrd="0" presId="urn:microsoft.com/office/officeart/2005/8/layout/orgChart1"/>
    <dgm:cxn modelId="{11F01940-4F6B-6146-BD4A-F9BAC12A000F}" type="presOf" srcId="{70EC2D8B-2A12-1F41-A4D4-9555C8DE5151}" destId="{466BD9E2-2AF3-5345-9DDB-9F69EE945456}" srcOrd="0" destOrd="0" presId="urn:microsoft.com/office/officeart/2005/8/layout/orgChart1"/>
    <dgm:cxn modelId="{4674C05D-49D2-5848-87F0-C09C89ABA923}" type="presOf" srcId="{17D40663-165F-2643-9CE3-613E173FDCAB}" destId="{C31ACD69-BBBE-8543-97A1-2AD08FB7A468}" srcOrd="1" destOrd="0" presId="urn:microsoft.com/office/officeart/2005/8/layout/orgChart1"/>
    <dgm:cxn modelId="{97161A60-494C-5C45-ABE1-8F34DBF41D47}" type="presOf" srcId="{FB17B79E-8FB6-4043-9398-0EBBF8968416}" destId="{35DBDF11-AA14-5D43-BB48-72173D8DC694}" srcOrd="0" destOrd="0" presId="urn:microsoft.com/office/officeart/2005/8/layout/orgChart1"/>
    <dgm:cxn modelId="{086A7962-1600-E845-BC69-0DE6C2406667}" type="presOf" srcId="{7E7EA13D-1C5B-8C49-B368-D558A42C5EEF}" destId="{76E298FD-B13B-B04D-87F9-988ED059669B}" srcOrd="0" destOrd="0" presId="urn:microsoft.com/office/officeart/2005/8/layout/orgChart1"/>
    <dgm:cxn modelId="{6021DA42-0E9D-4740-85DB-8B12128D5C74}" type="presOf" srcId="{948AE4B0-1BCC-AB4A-9B46-4865FDE1B2C1}" destId="{898CCE05-E0A0-C144-A11E-615A0FC76509}" srcOrd="0" destOrd="0" presId="urn:microsoft.com/office/officeart/2005/8/layout/orgChart1"/>
    <dgm:cxn modelId="{7E386B68-74C2-444D-B51E-7A588E0F368E}" type="presOf" srcId="{FBCCEF22-C4F7-7842-BD7D-4B9BA9E2AED8}" destId="{864108D1-1220-A64E-BDBB-2C96ABF60017}" srcOrd="0" destOrd="0" presId="urn:microsoft.com/office/officeart/2005/8/layout/orgChart1"/>
    <dgm:cxn modelId="{4FFC436A-0B94-0741-9A30-58E6657D2785}" type="presOf" srcId="{9A399D2C-2F4D-1A46-9E8B-0FD58D3D00CD}" destId="{BA18D4AC-8408-0B4F-81B1-57EBE6E14471}" srcOrd="0" destOrd="0" presId="urn:microsoft.com/office/officeart/2005/8/layout/orgChart1"/>
    <dgm:cxn modelId="{E5ED9B4D-EB7F-954F-BE42-5323A716E0FA}" type="presOf" srcId="{77BD5296-776C-9D48-8A83-1DE730224121}" destId="{F856332F-600A-F841-935E-EA60730F3966}" srcOrd="1" destOrd="0" presId="urn:microsoft.com/office/officeart/2005/8/layout/orgChart1"/>
    <dgm:cxn modelId="{680A7A4E-222F-4544-A496-7E85F8EAA86F}" type="presOf" srcId="{DB9FEF5F-0573-8244-B171-3768546FF2A4}" destId="{B5858537-0A71-3B48-8334-4E9927987A5B}" srcOrd="1" destOrd="0" presId="urn:microsoft.com/office/officeart/2005/8/layout/orgChart1"/>
    <dgm:cxn modelId="{394A926E-B08C-254B-BF51-AEAAA0F7D4FD}" type="presOf" srcId="{9BD64807-57F2-394E-9A2F-B0B9D909F833}" destId="{0080CB70-4F50-0746-8E8B-06965386AE63}" srcOrd="0" destOrd="0" presId="urn:microsoft.com/office/officeart/2005/8/layout/orgChart1"/>
    <dgm:cxn modelId="{2B793F81-9EA7-0140-9967-01A796641B4C}" type="presOf" srcId="{17D40663-165F-2643-9CE3-613E173FDCAB}" destId="{D0141F9F-CD2A-8147-B934-DB354D9ED7CB}" srcOrd="0" destOrd="0" presId="urn:microsoft.com/office/officeart/2005/8/layout/orgChart1"/>
    <dgm:cxn modelId="{093DCB83-15A4-2E42-AEB5-15E88D760FF8}" type="presOf" srcId="{FF89A53B-3F2E-154B-85E0-B3273FE42CBE}" destId="{25E69261-B1F3-E94F-B719-6BB569E0E72F}" srcOrd="0" destOrd="0" presId="urn:microsoft.com/office/officeart/2005/8/layout/orgChart1"/>
    <dgm:cxn modelId="{87A6998F-5045-264D-A7ED-FA25A3238538}" type="presOf" srcId="{A9ACA9EB-B84D-2846-9E8B-A13BD14B40F5}" destId="{9E748DB3-6FA8-F247-AE7A-72990DE91228}" srcOrd="0" destOrd="0" presId="urn:microsoft.com/office/officeart/2005/8/layout/orgChart1"/>
    <dgm:cxn modelId="{D2F6C090-F0C1-5044-B1D9-4A52CC0966F6}" type="presOf" srcId="{6CEB43B6-EBD8-BB48-90C5-244C7429DB21}" destId="{C1849C4C-18D4-BD4D-A37A-3C58EED3A1CA}" srcOrd="0" destOrd="0" presId="urn:microsoft.com/office/officeart/2005/8/layout/orgChart1"/>
    <dgm:cxn modelId="{D6049991-5873-AF41-8D94-3F7CF9EFEAE7}" type="presOf" srcId="{948AE4B0-1BCC-AB4A-9B46-4865FDE1B2C1}" destId="{5D425117-9921-EC4A-941E-EF9D63F4DEAD}" srcOrd="1" destOrd="0" presId="urn:microsoft.com/office/officeart/2005/8/layout/orgChart1"/>
    <dgm:cxn modelId="{F326F792-C9AB-D74D-AF0A-38EC9CC46582}" srcId="{948AE4B0-1BCC-AB4A-9B46-4865FDE1B2C1}" destId="{7E7EA13D-1C5B-8C49-B368-D558A42C5EEF}" srcOrd="5" destOrd="0" parTransId="{9A399D2C-2F4D-1A46-9E8B-0FD58D3D00CD}" sibTransId="{2D59217D-C05D-6141-BE2E-639BEACB60C8}"/>
    <dgm:cxn modelId="{DB755695-EBC9-3E41-A1B1-04E96AE6ADC7}" srcId="{948AE4B0-1BCC-AB4A-9B46-4865FDE1B2C1}" destId="{4DF60E9C-29CA-AE4F-AE33-B0EF4E7C4E7D}" srcOrd="1" destOrd="0" parTransId="{FB17B79E-8FB6-4043-9398-0EBBF8968416}" sibTransId="{3DB14352-AA19-C44F-BCC0-129A8E40AA56}"/>
    <dgm:cxn modelId="{FE8C4196-D850-0847-8B0E-7589573E3AC1}" type="presOf" srcId="{E9D4B1BA-E56F-E845-A2CA-D786D1B70A79}" destId="{E08B28CA-CC8B-C443-9626-77F12BD3C206}" srcOrd="1" destOrd="0" presId="urn:microsoft.com/office/officeart/2005/8/layout/orgChart1"/>
    <dgm:cxn modelId="{DC70B19D-BB7A-2A48-BF6B-581CABFFC76C}" type="presOf" srcId="{6CEB43B6-EBD8-BB48-90C5-244C7429DB21}" destId="{38BF8C5F-6048-534F-9ADB-1DE10873218D}" srcOrd="1" destOrd="0" presId="urn:microsoft.com/office/officeart/2005/8/layout/orgChart1"/>
    <dgm:cxn modelId="{46B9C5AB-743D-CC4B-A181-E281EC4B2B82}" srcId="{7E7EA13D-1C5B-8C49-B368-D558A42C5EEF}" destId="{E9D4B1BA-E56F-E845-A2CA-D786D1B70A79}" srcOrd="1" destOrd="0" parTransId="{1F61939E-548E-E94B-8F57-FA02F457E408}" sibTransId="{1DD3BA73-DB94-D241-AA38-D930A2378B97}"/>
    <dgm:cxn modelId="{F2EF55B5-6CE4-9D46-8FDE-8563575B6926}" type="presOf" srcId="{4DF60E9C-29CA-AE4F-AE33-B0EF4E7C4E7D}" destId="{513FBF3B-58A6-964A-B604-8C40C0753FA6}" srcOrd="0" destOrd="0" presId="urn:microsoft.com/office/officeart/2005/8/layout/orgChart1"/>
    <dgm:cxn modelId="{741B38BA-FB32-6847-B0DC-FC2D351B65AC}" type="presOf" srcId="{842F5A2B-191E-694E-986D-B32D2F7E0ACE}" destId="{97EF03B2-F06F-3E46-B913-0ABFFC22105B}" srcOrd="1" destOrd="0" presId="urn:microsoft.com/office/officeart/2005/8/layout/orgChart1"/>
    <dgm:cxn modelId="{8F419CBD-FC28-2546-BEC6-2708F15060A6}" type="presOf" srcId="{FFAB1B66-F7B5-BB48-9E2C-DA7960CA9BBE}" destId="{36C12508-2F10-DC47-B606-DF9816231661}" srcOrd="0" destOrd="0" presId="urn:microsoft.com/office/officeart/2005/8/layout/orgChart1"/>
    <dgm:cxn modelId="{7D2A68C1-3312-9A4E-9B75-2BB9F504A678}" srcId="{948AE4B0-1BCC-AB4A-9B46-4865FDE1B2C1}" destId="{FBCCEF22-C4F7-7842-BD7D-4B9BA9E2AED8}" srcOrd="6" destOrd="0" parTransId="{811F11F1-11E8-DB4C-BD71-05FC2B5079E7}" sibTransId="{8F768ADF-F936-CE44-B56F-746ABFDF9784}"/>
    <dgm:cxn modelId="{03369DC3-AAF9-AB44-82E3-ADABDE70C4AE}" type="presOf" srcId="{4DF60E9C-29CA-AE4F-AE33-B0EF4E7C4E7D}" destId="{953E070E-CCAA-6F44-A8CA-74BF27AB8B1A}" srcOrd="1" destOrd="0" presId="urn:microsoft.com/office/officeart/2005/8/layout/orgChart1"/>
    <dgm:cxn modelId="{593F6DC5-7379-3F44-A306-767F307DA448}" type="presOf" srcId="{842F5A2B-191E-694E-986D-B32D2F7E0ACE}" destId="{59BC45B9-F8EE-9640-A1FA-254805B9870A}" srcOrd="0" destOrd="0" presId="urn:microsoft.com/office/officeart/2005/8/layout/orgChart1"/>
    <dgm:cxn modelId="{C52E50CE-21F1-BB4A-9881-38D63EACDED6}" type="presOf" srcId="{811F11F1-11E8-DB4C-BD71-05FC2B5079E7}" destId="{F04814B3-18C8-954A-B370-2ECFA2BDB7F6}" srcOrd="0" destOrd="0" presId="urn:microsoft.com/office/officeart/2005/8/layout/orgChart1"/>
    <dgm:cxn modelId="{31200AD5-AFD9-E341-9CD0-ECD03C0E36B4}" type="presOf" srcId="{E9D4B1BA-E56F-E845-A2CA-D786D1B70A79}" destId="{A76A1AEC-724B-9044-9D7D-8AA126C2EDDF}" srcOrd="0" destOrd="0" presId="urn:microsoft.com/office/officeart/2005/8/layout/orgChart1"/>
    <dgm:cxn modelId="{CDCA26D8-3A3D-0F49-B26B-80E2EF6C186D}" type="presOf" srcId="{F744F54C-4AC3-9545-B7F3-A0D07D83F3C5}" destId="{229AD77C-86C3-8C47-936D-E022541781A3}" srcOrd="0" destOrd="0" presId="urn:microsoft.com/office/officeart/2005/8/layout/orgChart1"/>
    <dgm:cxn modelId="{614EABDF-AF03-F54A-90FF-A1764A55426F}" srcId="{7E7EA13D-1C5B-8C49-B368-D558A42C5EEF}" destId="{DB9FEF5F-0573-8244-B171-3768546FF2A4}" srcOrd="0" destOrd="0" parTransId="{70EC2D8B-2A12-1F41-A4D4-9555C8DE5151}" sibTransId="{57C3FF54-368F-9E41-8EE2-8B4955C54FBB}"/>
    <dgm:cxn modelId="{FBF234E4-2246-3F49-BA9B-D450698A43A4}" srcId="{948AE4B0-1BCC-AB4A-9B46-4865FDE1B2C1}" destId="{77BD5296-776C-9D48-8A83-1DE730224121}" srcOrd="2" destOrd="0" parTransId="{9BD64807-57F2-394E-9A2F-B0B9D909F833}" sibTransId="{CA57B57F-2612-1442-A1FA-D7851DDBDDCA}"/>
    <dgm:cxn modelId="{13F78DE8-E9B7-0144-9FD1-6A191B662C5E}" type="presOf" srcId="{FBCCEF22-C4F7-7842-BD7D-4B9BA9E2AED8}" destId="{08F3A9B4-62DE-054E-8301-EA0028229EDE}" srcOrd="1" destOrd="0" presId="urn:microsoft.com/office/officeart/2005/8/layout/orgChart1"/>
    <dgm:cxn modelId="{3B3C07E9-F95E-3C49-8002-3753E08CE337}" type="presOf" srcId="{80A49050-836C-F04F-9BC7-8E5BC42FE4C8}" destId="{0F8AFE80-63D5-2F4D-9B31-D67919975158}" srcOrd="0" destOrd="0" presId="urn:microsoft.com/office/officeart/2005/8/layout/orgChart1"/>
    <dgm:cxn modelId="{3284AEED-D9BF-8F48-B09E-ED2A26301469}" srcId="{4DF60E9C-29CA-AE4F-AE33-B0EF4E7C4E7D}" destId="{842F5A2B-191E-694E-986D-B32D2F7E0ACE}" srcOrd="0" destOrd="0" parTransId="{A87B063D-BE1B-CB4D-A6DB-04DE510FF8D2}" sibTransId="{9E4670AF-44D3-9E48-AA13-A7E64A13D952}"/>
    <dgm:cxn modelId="{478BBBF0-9579-4843-AC7E-5ECE1E559197}" srcId="{948AE4B0-1BCC-AB4A-9B46-4865FDE1B2C1}" destId="{6CEB43B6-EBD8-BB48-90C5-244C7429DB21}" srcOrd="3" destOrd="0" parTransId="{80A49050-836C-F04F-9BC7-8E5BC42FE4C8}" sibTransId="{59C5C8F8-1FE9-7B42-9811-B0E3957C8A44}"/>
    <dgm:cxn modelId="{73918AF4-D3E2-1748-B07F-2C85419BFD4F}" type="presOf" srcId="{7E7EA13D-1C5B-8C49-B368-D558A42C5EEF}" destId="{9D6C60DC-A459-7748-90AF-6B8F09124AA8}" srcOrd="1" destOrd="0" presId="urn:microsoft.com/office/officeart/2005/8/layout/orgChart1"/>
    <dgm:cxn modelId="{5CB8C4F7-31F0-C540-A2CA-EEAB34AE0A66}" type="presOf" srcId="{1F61939E-548E-E94B-8F57-FA02F457E408}" destId="{495BBE7F-C507-4849-8469-C76666AF9B77}" srcOrd="0" destOrd="0" presId="urn:microsoft.com/office/officeart/2005/8/layout/orgChart1"/>
    <dgm:cxn modelId="{64276FFC-30FC-1B45-851F-83A11D9BD00F}" type="presOf" srcId="{A9ACA9EB-B84D-2846-9E8B-A13BD14B40F5}" destId="{40F5A796-628E-ED4E-B020-2CD9A1A88D42}" srcOrd="1" destOrd="0" presId="urn:microsoft.com/office/officeart/2005/8/layout/orgChart1"/>
    <dgm:cxn modelId="{4FA09DFC-1D9A-084F-AB17-90A0ED2791F3}" srcId="{4DF60E9C-29CA-AE4F-AE33-B0EF4E7C4E7D}" destId="{F744F54C-4AC3-9545-B7F3-A0D07D83F3C5}" srcOrd="1" destOrd="0" parTransId="{7CF122D2-F738-4D4D-B630-8BA0CF61EA32}" sibTransId="{749FDB5A-81F3-7848-A5DC-AB928EF1CF95}"/>
    <dgm:cxn modelId="{4F5AA07B-FAF7-5E42-8C32-0CE12111C30C}" type="presParOf" srcId="{CB4B3474-AD81-E94E-9B26-C5C4664DA26A}" destId="{A0CCF3E2-DCDA-7142-ABCF-E7F3D4330285}" srcOrd="0" destOrd="0" presId="urn:microsoft.com/office/officeart/2005/8/layout/orgChart1"/>
    <dgm:cxn modelId="{4BBBD602-76BA-4D4F-B0AE-0922F9B9752E}" type="presParOf" srcId="{A0CCF3E2-DCDA-7142-ABCF-E7F3D4330285}" destId="{4F47AF02-C8D7-7F4C-A555-A10C4D551230}" srcOrd="0" destOrd="0" presId="urn:microsoft.com/office/officeart/2005/8/layout/orgChart1"/>
    <dgm:cxn modelId="{56D7E64D-ADF6-5447-8B3B-E9CAD05265A1}" type="presParOf" srcId="{4F47AF02-C8D7-7F4C-A555-A10C4D551230}" destId="{898CCE05-E0A0-C144-A11E-615A0FC76509}" srcOrd="0" destOrd="0" presId="urn:microsoft.com/office/officeart/2005/8/layout/orgChart1"/>
    <dgm:cxn modelId="{5173DC5E-2DAC-7542-8D06-630A6DD8317D}" type="presParOf" srcId="{4F47AF02-C8D7-7F4C-A555-A10C4D551230}" destId="{5D425117-9921-EC4A-941E-EF9D63F4DEAD}" srcOrd="1" destOrd="0" presId="urn:microsoft.com/office/officeart/2005/8/layout/orgChart1"/>
    <dgm:cxn modelId="{8EAC6CA1-F953-BE45-8C55-25A0E080E00B}" type="presParOf" srcId="{A0CCF3E2-DCDA-7142-ABCF-E7F3D4330285}" destId="{A3B934C2-402D-BD4F-B459-792093EAF823}" srcOrd="1" destOrd="0" presId="urn:microsoft.com/office/officeart/2005/8/layout/orgChart1"/>
    <dgm:cxn modelId="{90015028-F813-3149-B0E2-E14AFD1BFF4A}" type="presParOf" srcId="{A3B934C2-402D-BD4F-B459-792093EAF823}" destId="{36C12508-2F10-DC47-B606-DF9816231661}" srcOrd="0" destOrd="0" presId="urn:microsoft.com/office/officeart/2005/8/layout/orgChart1"/>
    <dgm:cxn modelId="{3BF53418-3EA8-094D-92FC-B614123A69B1}" type="presParOf" srcId="{A3B934C2-402D-BD4F-B459-792093EAF823}" destId="{5F1E3F31-DF83-724E-BE55-7FE09A605B8D}" srcOrd="1" destOrd="0" presId="urn:microsoft.com/office/officeart/2005/8/layout/orgChart1"/>
    <dgm:cxn modelId="{DC2B03C7-40E4-8D4D-B985-5EFC58FB9708}" type="presParOf" srcId="{5F1E3F31-DF83-724E-BE55-7FE09A605B8D}" destId="{FCA65B40-0DA7-CA42-81A1-F5F397CE9F6A}" srcOrd="0" destOrd="0" presId="urn:microsoft.com/office/officeart/2005/8/layout/orgChart1"/>
    <dgm:cxn modelId="{5C7DE352-F98F-3544-83CE-9B8843C2E8C6}" type="presParOf" srcId="{FCA65B40-0DA7-CA42-81A1-F5F397CE9F6A}" destId="{9E748DB3-6FA8-F247-AE7A-72990DE91228}" srcOrd="0" destOrd="0" presId="urn:microsoft.com/office/officeart/2005/8/layout/orgChart1"/>
    <dgm:cxn modelId="{F679A772-A14E-714B-87AF-2676FA7EB823}" type="presParOf" srcId="{FCA65B40-0DA7-CA42-81A1-F5F397CE9F6A}" destId="{40F5A796-628E-ED4E-B020-2CD9A1A88D42}" srcOrd="1" destOrd="0" presId="urn:microsoft.com/office/officeart/2005/8/layout/orgChart1"/>
    <dgm:cxn modelId="{DDEB95E8-1A07-9E49-8611-AA22E083F115}" type="presParOf" srcId="{5F1E3F31-DF83-724E-BE55-7FE09A605B8D}" destId="{D25DD315-B57C-DD40-BF96-13C3D308F89C}" srcOrd="1" destOrd="0" presId="urn:microsoft.com/office/officeart/2005/8/layout/orgChart1"/>
    <dgm:cxn modelId="{03FD36F9-F80A-D14D-880B-0818E41A8761}" type="presParOf" srcId="{5F1E3F31-DF83-724E-BE55-7FE09A605B8D}" destId="{2A466297-53A0-B14E-B87E-50A614C1B68B}" srcOrd="2" destOrd="0" presId="urn:microsoft.com/office/officeart/2005/8/layout/orgChart1"/>
    <dgm:cxn modelId="{B36678C3-2138-764B-9515-D3A965A90777}" type="presParOf" srcId="{A3B934C2-402D-BD4F-B459-792093EAF823}" destId="{35DBDF11-AA14-5D43-BB48-72173D8DC694}" srcOrd="2" destOrd="0" presId="urn:microsoft.com/office/officeart/2005/8/layout/orgChart1"/>
    <dgm:cxn modelId="{ADBBB3D8-1CBB-C245-9C0B-C1FD1C3B46A0}" type="presParOf" srcId="{A3B934C2-402D-BD4F-B459-792093EAF823}" destId="{4866374A-11DB-F94A-AAD8-A06E5C73C1FB}" srcOrd="3" destOrd="0" presId="urn:microsoft.com/office/officeart/2005/8/layout/orgChart1"/>
    <dgm:cxn modelId="{DF8FBAD9-0803-3B40-AEAE-4538ED046D47}" type="presParOf" srcId="{4866374A-11DB-F94A-AAD8-A06E5C73C1FB}" destId="{089691D4-F74B-A543-9177-72498D35DD0B}" srcOrd="0" destOrd="0" presId="urn:microsoft.com/office/officeart/2005/8/layout/orgChart1"/>
    <dgm:cxn modelId="{E0E14842-9C04-F448-A36B-231544F5E5B4}" type="presParOf" srcId="{089691D4-F74B-A543-9177-72498D35DD0B}" destId="{513FBF3B-58A6-964A-B604-8C40C0753FA6}" srcOrd="0" destOrd="0" presId="urn:microsoft.com/office/officeart/2005/8/layout/orgChart1"/>
    <dgm:cxn modelId="{33AF560F-A0C7-5043-A2D9-CCFA58F22D2C}" type="presParOf" srcId="{089691D4-F74B-A543-9177-72498D35DD0B}" destId="{953E070E-CCAA-6F44-A8CA-74BF27AB8B1A}" srcOrd="1" destOrd="0" presId="urn:microsoft.com/office/officeart/2005/8/layout/orgChart1"/>
    <dgm:cxn modelId="{6C5B3C63-8236-AE4C-84BC-C6F8F4C0940D}" type="presParOf" srcId="{4866374A-11DB-F94A-AAD8-A06E5C73C1FB}" destId="{8CA9D6CF-7A27-1045-B336-325570168419}" srcOrd="1" destOrd="0" presId="urn:microsoft.com/office/officeart/2005/8/layout/orgChart1"/>
    <dgm:cxn modelId="{E668540E-29C2-7449-AC0B-16D9744F8BAB}" type="presParOf" srcId="{8CA9D6CF-7A27-1045-B336-325570168419}" destId="{4D4C342E-D36D-9946-92F4-6DB2776E5DD2}" srcOrd="0" destOrd="0" presId="urn:microsoft.com/office/officeart/2005/8/layout/orgChart1"/>
    <dgm:cxn modelId="{7F79120C-64DD-7648-A762-AC2AFACFAED6}" type="presParOf" srcId="{8CA9D6CF-7A27-1045-B336-325570168419}" destId="{07BE2E90-3561-4847-9956-818AF2EF8E12}" srcOrd="1" destOrd="0" presId="urn:microsoft.com/office/officeart/2005/8/layout/orgChart1"/>
    <dgm:cxn modelId="{715CA90C-771F-D74A-8F4B-E1724CFE4616}" type="presParOf" srcId="{07BE2E90-3561-4847-9956-818AF2EF8E12}" destId="{5EF1EE9C-82A7-2D48-BD09-48157CD300A4}" srcOrd="0" destOrd="0" presId="urn:microsoft.com/office/officeart/2005/8/layout/orgChart1"/>
    <dgm:cxn modelId="{11E44680-AA0E-3142-89F9-E5987D2A6E25}" type="presParOf" srcId="{5EF1EE9C-82A7-2D48-BD09-48157CD300A4}" destId="{59BC45B9-F8EE-9640-A1FA-254805B9870A}" srcOrd="0" destOrd="0" presId="urn:microsoft.com/office/officeart/2005/8/layout/orgChart1"/>
    <dgm:cxn modelId="{84FBF41D-038F-E14B-82F4-6805EFA1827E}" type="presParOf" srcId="{5EF1EE9C-82A7-2D48-BD09-48157CD300A4}" destId="{97EF03B2-F06F-3E46-B913-0ABFFC22105B}" srcOrd="1" destOrd="0" presId="urn:microsoft.com/office/officeart/2005/8/layout/orgChart1"/>
    <dgm:cxn modelId="{925241E2-1B73-784C-AD80-CFC10E852754}" type="presParOf" srcId="{07BE2E90-3561-4847-9956-818AF2EF8E12}" destId="{F685D09F-3C26-2C41-9294-7BC6B848DCE3}" srcOrd="1" destOrd="0" presId="urn:microsoft.com/office/officeart/2005/8/layout/orgChart1"/>
    <dgm:cxn modelId="{7B2703E5-B801-2443-81FA-0811945FAEC7}" type="presParOf" srcId="{07BE2E90-3561-4847-9956-818AF2EF8E12}" destId="{CDAFCBB0-22D0-FE45-AB0F-13B1E2A3969B}" srcOrd="2" destOrd="0" presId="urn:microsoft.com/office/officeart/2005/8/layout/orgChart1"/>
    <dgm:cxn modelId="{9427F1F9-0290-9E42-888F-DF1772B173C4}" type="presParOf" srcId="{8CA9D6CF-7A27-1045-B336-325570168419}" destId="{77A44923-1B51-EA4B-995A-EA30655E634F}" srcOrd="2" destOrd="0" presId="urn:microsoft.com/office/officeart/2005/8/layout/orgChart1"/>
    <dgm:cxn modelId="{5E554329-25FB-C249-AB5E-58A16D6FC61E}" type="presParOf" srcId="{8CA9D6CF-7A27-1045-B336-325570168419}" destId="{C8678D61-7312-CA4E-8B62-763BDFCE596F}" srcOrd="3" destOrd="0" presId="urn:microsoft.com/office/officeart/2005/8/layout/orgChart1"/>
    <dgm:cxn modelId="{2E9C310D-0F65-C049-A8B9-37A4890420A9}" type="presParOf" srcId="{C8678D61-7312-CA4E-8B62-763BDFCE596F}" destId="{A1453472-21F9-5344-82AF-DE1624648CCC}" srcOrd="0" destOrd="0" presId="urn:microsoft.com/office/officeart/2005/8/layout/orgChart1"/>
    <dgm:cxn modelId="{477DB920-B49E-5F45-95D9-CBF88436C1DA}" type="presParOf" srcId="{A1453472-21F9-5344-82AF-DE1624648CCC}" destId="{229AD77C-86C3-8C47-936D-E022541781A3}" srcOrd="0" destOrd="0" presId="urn:microsoft.com/office/officeart/2005/8/layout/orgChart1"/>
    <dgm:cxn modelId="{7AAE84C2-4477-2340-91F1-DFDBF03C244E}" type="presParOf" srcId="{A1453472-21F9-5344-82AF-DE1624648CCC}" destId="{E196452D-2852-1C40-A09F-7CBE5E98DB8A}" srcOrd="1" destOrd="0" presId="urn:microsoft.com/office/officeart/2005/8/layout/orgChart1"/>
    <dgm:cxn modelId="{3035B62D-19C4-E64E-B4E5-557B303F28FF}" type="presParOf" srcId="{C8678D61-7312-CA4E-8B62-763BDFCE596F}" destId="{20F4E1CC-86CC-2D4C-8EDB-B03306200C59}" srcOrd="1" destOrd="0" presId="urn:microsoft.com/office/officeart/2005/8/layout/orgChart1"/>
    <dgm:cxn modelId="{4241D329-8941-D749-981B-438425C4A8C3}" type="presParOf" srcId="{C8678D61-7312-CA4E-8B62-763BDFCE596F}" destId="{5F37B83C-C9CF-144F-88EC-F99728EBD5F8}" srcOrd="2" destOrd="0" presId="urn:microsoft.com/office/officeart/2005/8/layout/orgChart1"/>
    <dgm:cxn modelId="{42EA0EFF-B5E9-084D-84C5-47B74E24E9C8}" type="presParOf" srcId="{4866374A-11DB-F94A-AAD8-A06E5C73C1FB}" destId="{17C8963F-06E3-0C49-B705-7F00CBB1DE20}" srcOrd="2" destOrd="0" presId="urn:microsoft.com/office/officeart/2005/8/layout/orgChart1"/>
    <dgm:cxn modelId="{AD44D134-B839-924C-9E17-364DCE6F6390}" type="presParOf" srcId="{A3B934C2-402D-BD4F-B459-792093EAF823}" destId="{0080CB70-4F50-0746-8E8B-06965386AE63}" srcOrd="4" destOrd="0" presId="urn:microsoft.com/office/officeart/2005/8/layout/orgChart1"/>
    <dgm:cxn modelId="{496CF52C-11B5-C345-AC8D-6D870BE70DC4}" type="presParOf" srcId="{A3B934C2-402D-BD4F-B459-792093EAF823}" destId="{BCC5B979-FE63-834E-A244-08C8C0EA4A0B}" srcOrd="5" destOrd="0" presId="urn:microsoft.com/office/officeart/2005/8/layout/orgChart1"/>
    <dgm:cxn modelId="{46A5627B-9E10-3248-8B57-0E1BF35462A0}" type="presParOf" srcId="{BCC5B979-FE63-834E-A244-08C8C0EA4A0B}" destId="{AC467A77-4128-3542-9AF2-44F825B9EFCF}" srcOrd="0" destOrd="0" presId="urn:microsoft.com/office/officeart/2005/8/layout/orgChart1"/>
    <dgm:cxn modelId="{F0C5E529-5944-784C-812C-4AF10C4CD293}" type="presParOf" srcId="{AC467A77-4128-3542-9AF2-44F825B9EFCF}" destId="{5D6BCE1F-65F9-A047-BC2C-A11C0CFD7AF9}" srcOrd="0" destOrd="0" presId="urn:microsoft.com/office/officeart/2005/8/layout/orgChart1"/>
    <dgm:cxn modelId="{CEFA2CE9-81A4-4445-988C-368F46BE732C}" type="presParOf" srcId="{AC467A77-4128-3542-9AF2-44F825B9EFCF}" destId="{F856332F-600A-F841-935E-EA60730F3966}" srcOrd="1" destOrd="0" presId="urn:microsoft.com/office/officeart/2005/8/layout/orgChart1"/>
    <dgm:cxn modelId="{F236CDD7-13C7-994C-9F5A-E13063CF2BF6}" type="presParOf" srcId="{BCC5B979-FE63-834E-A244-08C8C0EA4A0B}" destId="{A522B484-154A-6E4A-93D5-3F0D1DEC379C}" srcOrd="1" destOrd="0" presId="urn:microsoft.com/office/officeart/2005/8/layout/orgChart1"/>
    <dgm:cxn modelId="{1A2781B4-0EFE-F644-8914-9644789C846C}" type="presParOf" srcId="{BCC5B979-FE63-834E-A244-08C8C0EA4A0B}" destId="{0B751A8E-3CA1-ED4F-B227-0106A744CB4E}" srcOrd="2" destOrd="0" presId="urn:microsoft.com/office/officeart/2005/8/layout/orgChart1"/>
    <dgm:cxn modelId="{24CD5C78-C642-E54C-AC91-29E16BC9F0DA}" type="presParOf" srcId="{A3B934C2-402D-BD4F-B459-792093EAF823}" destId="{0F8AFE80-63D5-2F4D-9B31-D67919975158}" srcOrd="6" destOrd="0" presId="urn:microsoft.com/office/officeart/2005/8/layout/orgChart1"/>
    <dgm:cxn modelId="{C253BFB6-E278-C44B-81F0-2F9B477664E6}" type="presParOf" srcId="{A3B934C2-402D-BD4F-B459-792093EAF823}" destId="{89DE45FC-9905-064B-B0B6-CC4D8FBA6247}" srcOrd="7" destOrd="0" presId="urn:microsoft.com/office/officeart/2005/8/layout/orgChart1"/>
    <dgm:cxn modelId="{BCBA399B-845E-8D4D-9F82-5264176B9A5E}" type="presParOf" srcId="{89DE45FC-9905-064B-B0B6-CC4D8FBA6247}" destId="{1F295C89-8F6C-614B-A2E9-4D1E369231D2}" srcOrd="0" destOrd="0" presId="urn:microsoft.com/office/officeart/2005/8/layout/orgChart1"/>
    <dgm:cxn modelId="{3C545CEA-8011-2A45-AF58-B4E0E9C068B5}" type="presParOf" srcId="{1F295C89-8F6C-614B-A2E9-4D1E369231D2}" destId="{C1849C4C-18D4-BD4D-A37A-3C58EED3A1CA}" srcOrd="0" destOrd="0" presId="urn:microsoft.com/office/officeart/2005/8/layout/orgChart1"/>
    <dgm:cxn modelId="{F1B314E1-5C81-BD40-AB22-ED10AF7E0588}" type="presParOf" srcId="{1F295C89-8F6C-614B-A2E9-4D1E369231D2}" destId="{38BF8C5F-6048-534F-9ADB-1DE10873218D}" srcOrd="1" destOrd="0" presId="urn:microsoft.com/office/officeart/2005/8/layout/orgChart1"/>
    <dgm:cxn modelId="{E04D376C-2791-BB4A-8404-1974C40D277D}" type="presParOf" srcId="{89DE45FC-9905-064B-B0B6-CC4D8FBA6247}" destId="{9205AF80-9462-E246-85C2-85DC0B9C231C}" srcOrd="1" destOrd="0" presId="urn:microsoft.com/office/officeart/2005/8/layout/orgChart1"/>
    <dgm:cxn modelId="{7A86C90D-E9DD-0449-B446-917E542A4A2A}" type="presParOf" srcId="{89DE45FC-9905-064B-B0B6-CC4D8FBA6247}" destId="{01BCA6C4-235B-4446-A381-9A637B6B62CC}" srcOrd="2" destOrd="0" presId="urn:microsoft.com/office/officeart/2005/8/layout/orgChart1"/>
    <dgm:cxn modelId="{8639D22D-D7DA-2A46-94A5-C11D4F9F79DF}" type="presParOf" srcId="{A3B934C2-402D-BD4F-B459-792093EAF823}" destId="{25E69261-B1F3-E94F-B719-6BB569E0E72F}" srcOrd="8" destOrd="0" presId="urn:microsoft.com/office/officeart/2005/8/layout/orgChart1"/>
    <dgm:cxn modelId="{03E994CC-4604-7046-AA6B-190D984F732B}" type="presParOf" srcId="{A3B934C2-402D-BD4F-B459-792093EAF823}" destId="{FFD02FE6-4010-1C41-A575-0027006B494D}" srcOrd="9" destOrd="0" presId="urn:microsoft.com/office/officeart/2005/8/layout/orgChart1"/>
    <dgm:cxn modelId="{7AB1E0EF-6136-AC40-8E20-BC4F8F457F74}" type="presParOf" srcId="{FFD02FE6-4010-1C41-A575-0027006B494D}" destId="{7A86D60B-FA15-FE40-A7AD-3F7A926ABB6E}" srcOrd="0" destOrd="0" presId="urn:microsoft.com/office/officeart/2005/8/layout/orgChart1"/>
    <dgm:cxn modelId="{48A34D7C-8D12-5846-AED8-00749207A3DC}" type="presParOf" srcId="{7A86D60B-FA15-FE40-A7AD-3F7A926ABB6E}" destId="{D0141F9F-CD2A-8147-B934-DB354D9ED7CB}" srcOrd="0" destOrd="0" presId="urn:microsoft.com/office/officeart/2005/8/layout/orgChart1"/>
    <dgm:cxn modelId="{3C6CE9F0-ADC2-084C-AC6B-F450D23F2A39}" type="presParOf" srcId="{7A86D60B-FA15-FE40-A7AD-3F7A926ABB6E}" destId="{C31ACD69-BBBE-8543-97A1-2AD08FB7A468}" srcOrd="1" destOrd="0" presId="urn:microsoft.com/office/officeart/2005/8/layout/orgChart1"/>
    <dgm:cxn modelId="{BCAEAF0B-524B-D34D-A3ED-C1883314DE97}" type="presParOf" srcId="{FFD02FE6-4010-1C41-A575-0027006B494D}" destId="{3F4515D3-2B40-D74E-80AA-08FE2BBA1A36}" srcOrd="1" destOrd="0" presId="urn:microsoft.com/office/officeart/2005/8/layout/orgChart1"/>
    <dgm:cxn modelId="{F638047A-6FCC-C746-97EB-D700098DB6BE}" type="presParOf" srcId="{FFD02FE6-4010-1C41-A575-0027006B494D}" destId="{8D2D6905-9E46-ED49-BE0D-6007F696DF5A}" srcOrd="2" destOrd="0" presId="urn:microsoft.com/office/officeart/2005/8/layout/orgChart1"/>
    <dgm:cxn modelId="{4A071D99-203D-F04F-8FF1-7D3AC384A1BD}" type="presParOf" srcId="{A3B934C2-402D-BD4F-B459-792093EAF823}" destId="{BA18D4AC-8408-0B4F-81B1-57EBE6E14471}" srcOrd="10" destOrd="0" presId="urn:microsoft.com/office/officeart/2005/8/layout/orgChart1"/>
    <dgm:cxn modelId="{97A972D4-D472-DF4B-B669-C8015B38DCCA}" type="presParOf" srcId="{A3B934C2-402D-BD4F-B459-792093EAF823}" destId="{80747F49-87C9-2C43-B42D-C1B22C6F8B2F}" srcOrd="11" destOrd="0" presId="urn:microsoft.com/office/officeart/2005/8/layout/orgChart1"/>
    <dgm:cxn modelId="{091F85F7-C890-FA4A-9EA3-5B05F392F2B9}" type="presParOf" srcId="{80747F49-87C9-2C43-B42D-C1B22C6F8B2F}" destId="{73DB231E-9BF7-BD49-B904-BE428189080F}" srcOrd="0" destOrd="0" presId="urn:microsoft.com/office/officeart/2005/8/layout/orgChart1"/>
    <dgm:cxn modelId="{C7427DD2-B4B7-944E-8D1D-737490933954}" type="presParOf" srcId="{73DB231E-9BF7-BD49-B904-BE428189080F}" destId="{76E298FD-B13B-B04D-87F9-988ED059669B}" srcOrd="0" destOrd="0" presId="urn:microsoft.com/office/officeart/2005/8/layout/orgChart1"/>
    <dgm:cxn modelId="{AD7F4977-240C-B84D-AA4F-7EF093025A11}" type="presParOf" srcId="{73DB231E-9BF7-BD49-B904-BE428189080F}" destId="{9D6C60DC-A459-7748-90AF-6B8F09124AA8}" srcOrd="1" destOrd="0" presId="urn:microsoft.com/office/officeart/2005/8/layout/orgChart1"/>
    <dgm:cxn modelId="{3DC7B54C-F141-CE48-A141-A13A29393424}" type="presParOf" srcId="{80747F49-87C9-2C43-B42D-C1B22C6F8B2F}" destId="{C46DB5F2-56C2-6F45-92AE-6A5DE2FC4B3B}" srcOrd="1" destOrd="0" presId="urn:microsoft.com/office/officeart/2005/8/layout/orgChart1"/>
    <dgm:cxn modelId="{59FA9C8C-7D8C-6849-9E55-C669E6AF111E}" type="presParOf" srcId="{C46DB5F2-56C2-6F45-92AE-6A5DE2FC4B3B}" destId="{466BD9E2-2AF3-5345-9DDB-9F69EE945456}" srcOrd="0" destOrd="0" presId="urn:microsoft.com/office/officeart/2005/8/layout/orgChart1"/>
    <dgm:cxn modelId="{778ADC1E-7B30-C74B-B2BA-FDF40C22EA8A}" type="presParOf" srcId="{C46DB5F2-56C2-6F45-92AE-6A5DE2FC4B3B}" destId="{FAECFEBC-66B1-224F-9940-40527301B96F}" srcOrd="1" destOrd="0" presId="urn:microsoft.com/office/officeart/2005/8/layout/orgChart1"/>
    <dgm:cxn modelId="{7C1C7CEB-E36C-044C-8F4D-8ED79135E20D}" type="presParOf" srcId="{FAECFEBC-66B1-224F-9940-40527301B96F}" destId="{363A0907-DAC6-F14D-82FC-2B0EEDAD311F}" srcOrd="0" destOrd="0" presId="urn:microsoft.com/office/officeart/2005/8/layout/orgChart1"/>
    <dgm:cxn modelId="{89DAFC49-04BD-A041-AABD-29D831CB8035}" type="presParOf" srcId="{363A0907-DAC6-F14D-82FC-2B0EEDAD311F}" destId="{8667DB7B-B743-5A4A-A4E9-08728C7A94BB}" srcOrd="0" destOrd="0" presId="urn:microsoft.com/office/officeart/2005/8/layout/orgChart1"/>
    <dgm:cxn modelId="{2E201AE1-8675-EB40-83C7-5421FE7AA8B8}" type="presParOf" srcId="{363A0907-DAC6-F14D-82FC-2B0EEDAD311F}" destId="{B5858537-0A71-3B48-8334-4E9927987A5B}" srcOrd="1" destOrd="0" presId="urn:microsoft.com/office/officeart/2005/8/layout/orgChart1"/>
    <dgm:cxn modelId="{9ABFF896-47D7-2C4E-A76F-21B47098B0D2}" type="presParOf" srcId="{FAECFEBC-66B1-224F-9940-40527301B96F}" destId="{AE31E228-099B-7146-8358-10F606E9C5A9}" srcOrd="1" destOrd="0" presId="urn:microsoft.com/office/officeart/2005/8/layout/orgChart1"/>
    <dgm:cxn modelId="{21D43396-0AB0-174A-8140-750C86FDB219}" type="presParOf" srcId="{FAECFEBC-66B1-224F-9940-40527301B96F}" destId="{C6CBE226-5CF2-9146-928C-7635B02778D9}" srcOrd="2" destOrd="0" presId="urn:microsoft.com/office/officeart/2005/8/layout/orgChart1"/>
    <dgm:cxn modelId="{1F1498BD-F30D-C24E-87B1-EFF0BC1A222E}" type="presParOf" srcId="{C46DB5F2-56C2-6F45-92AE-6A5DE2FC4B3B}" destId="{495BBE7F-C507-4849-8469-C76666AF9B77}" srcOrd="2" destOrd="0" presId="urn:microsoft.com/office/officeart/2005/8/layout/orgChart1"/>
    <dgm:cxn modelId="{D3909BD1-8B44-5449-8E18-1A3502A3A0FA}" type="presParOf" srcId="{C46DB5F2-56C2-6F45-92AE-6A5DE2FC4B3B}" destId="{F9BF798E-F765-3E4C-9A51-C67B85560A68}" srcOrd="3" destOrd="0" presId="urn:microsoft.com/office/officeart/2005/8/layout/orgChart1"/>
    <dgm:cxn modelId="{D1D072B8-AC7A-2A4A-B438-89A2CA1081F3}" type="presParOf" srcId="{F9BF798E-F765-3E4C-9A51-C67B85560A68}" destId="{F58FF077-7C40-154A-8E87-79B9BCE8423A}" srcOrd="0" destOrd="0" presId="urn:microsoft.com/office/officeart/2005/8/layout/orgChart1"/>
    <dgm:cxn modelId="{D08517FC-E7FC-374D-90FB-A92996486E22}" type="presParOf" srcId="{F58FF077-7C40-154A-8E87-79B9BCE8423A}" destId="{A76A1AEC-724B-9044-9D7D-8AA126C2EDDF}" srcOrd="0" destOrd="0" presId="urn:microsoft.com/office/officeart/2005/8/layout/orgChart1"/>
    <dgm:cxn modelId="{8AB5412A-9BD0-A040-8626-E1D78A96E780}" type="presParOf" srcId="{F58FF077-7C40-154A-8E87-79B9BCE8423A}" destId="{E08B28CA-CC8B-C443-9626-77F12BD3C206}" srcOrd="1" destOrd="0" presId="urn:microsoft.com/office/officeart/2005/8/layout/orgChart1"/>
    <dgm:cxn modelId="{91F541D3-6D71-5B44-874E-C5AD1CCF94FA}" type="presParOf" srcId="{F9BF798E-F765-3E4C-9A51-C67B85560A68}" destId="{70C6CE76-81FD-0049-8E6F-BB0AD4385388}" srcOrd="1" destOrd="0" presId="urn:microsoft.com/office/officeart/2005/8/layout/orgChart1"/>
    <dgm:cxn modelId="{F109320C-ED1F-134B-BFD3-E44328366963}" type="presParOf" srcId="{F9BF798E-F765-3E4C-9A51-C67B85560A68}" destId="{5F488FA5-2934-5640-B8EA-C0F55AE39E72}" srcOrd="2" destOrd="0" presId="urn:microsoft.com/office/officeart/2005/8/layout/orgChart1"/>
    <dgm:cxn modelId="{46F1CC7B-C213-B54A-91A8-5835A3651F19}" type="presParOf" srcId="{80747F49-87C9-2C43-B42D-C1B22C6F8B2F}" destId="{6408BA23-2A1D-2E45-B3EC-6CA435C40110}" srcOrd="2" destOrd="0" presId="urn:microsoft.com/office/officeart/2005/8/layout/orgChart1"/>
    <dgm:cxn modelId="{1F02B62A-DBDE-3448-9671-6D998C36E484}" type="presParOf" srcId="{A3B934C2-402D-BD4F-B459-792093EAF823}" destId="{F04814B3-18C8-954A-B370-2ECFA2BDB7F6}" srcOrd="12" destOrd="0" presId="urn:microsoft.com/office/officeart/2005/8/layout/orgChart1"/>
    <dgm:cxn modelId="{1387DE1D-4046-B944-B08B-24265D079337}" type="presParOf" srcId="{A3B934C2-402D-BD4F-B459-792093EAF823}" destId="{DD49724C-6E37-E74F-98A1-E71A9CF572DB}" srcOrd="13" destOrd="0" presId="urn:microsoft.com/office/officeart/2005/8/layout/orgChart1"/>
    <dgm:cxn modelId="{EDFD9189-A276-B748-94BC-1503E9A2653B}" type="presParOf" srcId="{DD49724C-6E37-E74F-98A1-E71A9CF572DB}" destId="{BE78543E-1488-294D-8779-A9EE698D75EC}" srcOrd="0" destOrd="0" presId="urn:microsoft.com/office/officeart/2005/8/layout/orgChart1"/>
    <dgm:cxn modelId="{E8BCD503-8616-8945-AAE1-BB2946CEFFBF}" type="presParOf" srcId="{BE78543E-1488-294D-8779-A9EE698D75EC}" destId="{864108D1-1220-A64E-BDBB-2C96ABF60017}" srcOrd="0" destOrd="0" presId="urn:microsoft.com/office/officeart/2005/8/layout/orgChart1"/>
    <dgm:cxn modelId="{26E1699C-8DF1-B942-BEEB-01A86BF79E4B}" type="presParOf" srcId="{BE78543E-1488-294D-8779-A9EE698D75EC}" destId="{08F3A9B4-62DE-054E-8301-EA0028229EDE}" srcOrd="1" destOrd="0" presId="urn:microsoft.com/office/officeart/2005/8/layout/orgChart1"/>
    <dgm:cxn modelId="{6846BBE1-1497-9344-8427-8B463E08BA28}" type="presParOf" srcId="{DD49724C-6E37-E74F-98A1-E71A9CF572DB}" destId="{69716AE6-EDE9-DB42-BC46-4F321E42ED64}" srcOrd="1" destOrd="0" presId="urn:microsoft.com/office/officeart/2005/8/layout/orgChart1"/>
    <dgm:cxn modelId="{9997B84E-BBD5-B84B-9EB9-C8A19F7CF460}" type="presParOf" srcId="{DD49724C-6E37-E74F-98A1-E71A9CF572DB}" destId="{6E42935D-133F-C643-9D34-63B5BA4CD3A1}" srcOrd="2" destOrd="0" presId="urn:microsoft.com/office/officeart/2005/8/layout/orgChart1"/>
    <dgm:cxn modelId="{62F04DD1-CA00-044A-8F72-4139EA2C178A}" type="presParOf" srcId="{A0CCF3E2-DCDA-7142-ABCF-E7F3D4330285}" destId="{C343E3E1-139E-B84C-8C0A-1E63792EC54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96A56F0-E039-104F-8348-B0DEA033F59F}" type="doc">
      <dgm:prSet loTypeId="urn:microsoft.com/office/officeart/2024/3/layout/BlockTimeline" loCatId="Timeline" qsTypeId="urn:microsoft.com/office/officeart/2005/8/quickstyle/simple1" qsCatId="simple" csTypeId="urn:microsoft.com/office/officeart/2005/8/colors/BlockTimelineDefaultColorVariant" csCatId="other" phldr="1"/>
      <dgm:spPr/>
      <dgm:t>
        <a:bodyPr/>
        <a:lstStyle/>
        <a:p>
          <a:endParaRPr lang="en-US"/>
        </a:p>
      </dgm:t>
    </dgm:pt>
    <dgm:pt modelId="{0DF5D03E-2C13-3548-88D8-F4A0293CDDAD}">
      <dgm:prSet/>
      <dgm:spPr/>
      <dgm:t>
        <a:bodyPr/>
        <a:lstStyle/>
        <a:p>
          <a:pPr>
            <a:defRPr b="1"/>
          </a:pPr>
          <a:r>
            <a:rPr lang="en-US"/>
            <a:t>Add an event</a:t>
          </a:r>
        </a:p>
      </dgm:t>
    </dgm:pt>
    <dgm:pt modelId="{71BFE3D0-DEB2-5043-B299-755258FFB3AE}" type="parTrans" cxnId="{E0B93C59-1889-C341-9DBF-0D241D731BED}">
      <dgm:prSet/>
      <dgm:spPr/>
      <dgm:t>
        <a:bodyPr/>
        <a:lstStyle/>
        <a:p>
          <a:endParaRPr lang="en-US"/>
        </a:p>
      </dgm:t>
    </dgm:pt>
    <dgm:pt modelId="{6EA030B0-1901-7A49-84A9-80A9483FFD0C}" type="sibTrans" cxnId="{E0B93C59-1889-C341-9DBF-0D241D731BED}">
      <dgm:prSet/>
      <dgm:spPr/>
      <dgm:t>
        <a:bodyPr/>
        <a:lstStyle/>
        <a:p>
          <a:endParaRPr lang="en-US"/>
        </a:p>
      </dgm:t>
    </dgm:pt>
    <dgm:pt modelId="{976EB8DC-295A-9B44-8DF3-D12BA414A71B}">
      <dgm:prSet/>
      <dgm:spPr/>
      <dgm:t>
        <a:bodyPr/>
        <a:lstStyle/>
        <a:p>
          <a:r>
            <a:rPr lang="en-US" dirty="0"/>
            <a:t>Write a description of the significance of this event</a:t>
          </a:r>
        </a:p>
      </dgm:t>
    </dgm:pt>
    <dgm:pt modelId="{F6E95750-6113-6942-9BFC-44C60ACB29DF}" type="parTrans" cxnId="{22B2EAFB-BF41-704A-A1EA-C1E04456BB7D}">
      <dgm:prSet/>
      <dgm:spPr/>
      <dgm:t>
        <a:bodyPr/>
        <a:lstStyle/>
        <a:p>
          <a:endParaRPr lang="en-US"/>
        </a:p>
      </dgm:t>
    </dgm:pt>
    <dgm:pt modelId="{B448CABD-2F27-6946-892B-91B82A5FFB4E}" type="sibTrans" cxnId="{22B2EAFB-BF41-704A-A1EA-C1E04456BB7D}">
      <dgm:prSet/>
      <dgm:spPr/>
      <dgm:t>
        <a:bodyPr/>
        <a:lstStyle/>
        <a:p>
          <a:endParaRPr lang="en-US"/>
        </a:p>
      </dgm:t>
    </dgm:pt>
    <dgm:pt modelId="{83049137-7A05-B34E-8429-45999C9DA18B}">
      <dgm:prSet/>
      <dgm:spPr/>
      <dgm:t>
        <a:bodyPr/>
        <a:lstStyle/>
        <a:p>
          <a:pPr>
            <a:defRPr b="1"/>
          </a:pPr>
          <a:r>
            <a:rPr lang="en-US"/>
            <a:t>Add an event</a:t>
          </a:r>
        </a:p>
      </dgm:t>
    </dgm:pt>
    <dgm:pt modelId="{4E28112A-E0DA-4742-ACCB-A4910890B6C1}" type="parTrans" cxnId="{AED146C3-641E-5741-B99C-DDCA8E3276BA}">
      <dgm:prSet/>
      <dgm:spPr/>
      <dgm:t>
        <a:bodyPr/>
        <a:lstStyle/>
        <a:p>
          <a:endParaRPr lang="en-US"/>
        </a:p>
      </dgm:t>
    </dgm:pt>
    <dgm:pt modelId="{C27B4645-E475-8646-B023-72421A4207BA}" type="sibTrans" cxnId="{AED146C3-641E-5741-B99C-DDCA8E3276BA}">
      <dgm:prSet/>
      <dgm:spPr/>
      <dgm:t>
        <a:bodyPr/>
        <a:lstStyle/>
        <a:p>
          <a:endParaRPr lang="en-US"/>
        </a:p>
      </dgm:t>
    </dgm:pt>
    <dgm:pt modelId="{CD6ADDE5-43CA-3D45-91C9-AED20B79F2D3}">
      <dgm:prSet/>
      <dgm:spPr/>
      <dgm:t>
        <a:bodyPr/>
        <a:lstStyle/>
        <a:p>
          <a:r>
            <a:rPr lang="en-US"/>
            <a:t>Write a description of the significance of this event</a:t>
          </a:r>
        </a:p>
      </dgm:t>
    </dgm:pt>
    <dgm:pt modelId="{5E91B747-0C06-B046-AD4D-C2A0A23134B5}" type="parTrans" cxnId="{3ADB4727-02E2-BC44-BA5A-6105BF1029D1}">
      <dgm:prSet/>
      <dgm:spPr/>
      <dgm:t>
        <a:bodyPr/>
        <a:lstStyle/>
        <a:p>
          <a:endParaRPr lang="en-US"/>
        </a:p>
      </dgm:t>
    </dgm:pt>
    <dgm:pt modelId="{4C0B675D-DEB5-B745-ACAA-FFDC83C10316}" type="sibTrans" cxnId="{3ADB4727-02E2-BC44-BA5A-6105BF1029D1}">
      <dgm:prSet/>
      <dgm:spPr/>
      <dgm:t>
        <a:bodyPr/>
        <a:lstStyle/>
        <a:p>
          <a:endParaRPr lang="en-US"/>
        </a:p>
      </dgm:t>
    </dgm:pt>
    <dgm:pt modelId="{7E2F59DB-0F4E-9747-82CD-29814E73C976}">
      <dgm:prSet/>
      <dgm:spPr/>
      <dgm:t>
        <a:bodyPr/>
        <a:lstStyle/>
        <a:p>
          <a:pPr>
            <a:defRPr b="1"/>
          </a:pPr>
          <a:r>
            <a:rPr lang="en-US"/>
            <a:t>Add an event</a:t>
          </a:r>
        </a:p>
      </dgm:t>
    </dgm:pt>
    <dgm:pt modelId="{4CEBCE10-92F6-6C4A-AFC5-36ECB0DC61F3}" type="parTrans" cxnId="{919DFF11-BDC1-2640-9A5A-A4F416C9324D}">
      <dgm:prSet/>
      <dgm:spPr/>
      <dgm:t>
        <a:bodyPr/>
        <a:lstStyle/>
        <a:p>
          <a:endParaRPr lang="en-US"/>
        </a:p>
      </dgm:t>
    </dgm:pt>
    <dgm:pt modelId="{03810B2D-A100-7B43-9E01-2FC0629D8482}" type="sibTrans" cxnId="{919DFF11-BDC1-2640-9A5A-A4F416C9324D}">
      <dgm:prSet/>
      <dgm:spPr/>
      <dgm:t>
        <a:bodyPr/>
        <a:lstStyle/>
        <a:p>
          <a:endParaRPr lang="en-US"/>
        </a:p>
      </dgm:t>
    </dgm:pt>
    <dgm:pt modelId="{46767178-3365-BD42-AE7B-990E5F67F1A8}">
      <dgm:prSet/>
      <dgm:spPr/>
      <dgm:t>
        <a:bodyPr/>
        <a:lstStyle/>
        <a:p>
          <a:r>
            <a:rPr lang="en-US"/>
            <a:t>Write a description of the significance of this event</a:t>
          </a:r>
        </a:p>
      </dgm:t>
    </dgm:pt>
    <dgm:pt modelId="{10D3EA44-470A-1943-BA37-567983014CB2}" type="parTrans" cxnId="{4915E6A8-2BA5-544A-8EBF-47451EF49D7E}">
      <dgm:prSet/>
      <dgm:spPr/>
      <dgm:t>
        <a:bodyPr/>
        <a:lstStyle/>
        <a:p>
          <a:endParaRPr lang="en-US"/>
        </a:p>
      </dgm:t>
    </dgm:pt>
    <dgm:pt modelId="{4BEA3205-1B32-CC4D-AABF-29CDB2EADFB6}" type="sibTrans" cxnId="{4915E6A8-2BA5-544A-8EBF-47451EF49D7E}">
      <dgm:prSet/>
      <dgm:spPr/>
      <dgm:t>
        <a:bodyPr/>
        <a:lstStyle/>
        <a:p>
          <a:endParaRPr lang="en-US"/>
        </a:p>
      </dgm:t>
    </dgm:pt>
    <dgm:pt modelId="{C8DE06EB-C784-7C43-A21D-A3840DF9FA41}">
      <dgm:prSet/>
      <dgm:spPr/>
      <dgm:t>
        <a:bodyPr/>
        <a:lstStyle/>
        <a:p>
          <a:pPr>
            <a:defRPr b="1"/>
          </a:pPr>
          <a:r>
            <a:rPr lang="en-US"/>
            <a:t>Add an event</a:t>
          </a:r>
        </a:p>
      </dgm:t>
    </dgm:pt>
    <dgm:pt modelId="{935922A5-AA0D-9B4E-BB7E-9F96406B25CC}" type="parTrans" cxnId="{87102450-9C9A-CC4F-A5B1-B7172601B80B}">
      <dgm:prSet/>
      <dgm:spPr/>
      <dgm:t>
        <a:bodyPr/>
        <a:lstStyle/>
        <a:p>
          <a:endParaRPr lang="en-US"/>
        </a:p>
      </dgm:t>
    </dgm:pt>
    <dgm:pt modelId="{AEEC4C2E-5C16-174C-B347-46509657925A}" type="sibTrans" cxnId="{87102450-9C9A-CC4F-A5B1-B7172601B80B}">
      <dgm:prSet/>
      <dgm:spPr/>
      <dgm:t>
        <a:bodyPr/>
        <a:lstStyle/>
        <a:p>
          <a:endParaRPr lang="en-US"/>
        </a:p>
      </dgm:t>
    </dgm:pt>
    <dgm:pt modelId="{25A862BF-8803-A342-9E54-0794BACA2FF7}">
      <dgm:prSet/>
      <dgm:spPr/>
      <dgm:t>
        <a:bodyPr/>
        <a:lstStyle/>
        <a:p>
          <a:r>
            <a:rPr lang="en-US"/>
            <a:t>Write a description of the significance of this event</a:t>
          </a:r>
        </a:p>
      </dgm:t>
    </dgm:pt>
    <dgm:pt modelId="{0D85D3DF-612F-7D4F-B41E-C13B9B78DCB3}" type="parTrans" cxnId="{946858C6-AEED-E74E-B16E-43A0EBA523E5}">
      <dgm:prSet/>
      <dgm:spPr/>
      <dgm:t>
        <a:bodyPr/>
        <a:lstStyle/>
        <a:p>
          <a:endParaRPr lang="en-US"/>
        </a:p>
      </dgm:t>
    </dgm:pt>
    <dgm:pt modelId="{8D1CFCAB-BDF5-E04B-BA2B-1DA17870D28E}" type="sibTrans" cxnId="{946858C6-AEED-E74E-B16E-43A0EBA523E5}">
      <dgm:prSet/>
      <dgm:spPr/>
      <dgm:t>
        <a:bodyPr/>
        <a:lstStyle/>
        <a:p>
          <a:endParaRPr lang="en-US"/>
        </a:p>
      </dgm:t>
    </dgm:pt>
    <dgm:pt modelId="{5FCB9F99-2DAF-9740-B339-56554F042B76}">
      <dgm:prSet/>
      <dgm:spPr/>
      <dgm:t>
        <a:bodyPr/>
        <a:lstStyle/>
        <a:p>
          <a:pPr>
            <a:defRPr b="1"/>
          </a:pPr>
          <a:r>
            <a:rPr lang="en-US"/>
            <a:t>Add an event</a:t>
          </a:r>
        </a:p>
      </dgm:t>
    </dgm:pt>
    <dgm:pt modelId="{8229389D-86B9-604F-8B2B-93CC12A48CFD}" type="parTrans" cxnId="{27AC969C-6961-6042-A48B-B594672C8B50}">
      <dgm:prSet/>
      <dgm:spPr/>
      <dgm:t>
        <a:bodyPr/>
        <a:lstStyle/>
        <a:p>
          <a:endParaRPr lang="en-US"/>
        </a:p>
      </dgm:t>
    </dgm:pt>
    <dgm:pt modelId="{C0058210-325F-1D49-B850-E95C449FF825}" type="sibTrans" cxnId="{27AC969C-6961-6042-A48B-B594672C8B50}">
      <dgm:prSet/>
      <dgm:spPr/>
      <dgm:t>
        <a:bodyPr/>
        <a:lstStyle/>
        <a:p>
          <a:endParaRPr lang="en-US"/>
        </a:p>
      </dgm:t>
    </dgm:pt>
    <dgm:pt modelId="{2DD32AE7-979C-8A48-AE2C-45E743FC289D}">
      <dgm:prSet/>
      <dgm:spPr/>
      <dgm:t>
        <a:bodyPr/>
        <a:lstStyle/>
        <a:p>
          <a:r>
            <a:rPr lang="en-US"/>
            <a:t>Write a description of the significance of this event</a:t>
          </a:r>
        </a:p>
      </dgm:t>
    </dgm:pt>
    <dgm:pt modelId="{34F831CC-764B-494B-B24D-9B89EABB89A8}" type="parTrans" cxnId="{4DAD3AD3-7EE2-814A-87CD-9718B3D5FBB1}">
      <dgm:prSet/>
      <dgm:spPr/>
      <dgm:t>
        <a:bodyPr/>
        <a:lstStyle/>
        <a:p>
          <a:endParaRPr lang="en-US"/>
        </a:p>
      </dgm:t>
    </dgm:pt>
    <dgm:pt modelId="{0255C339-D22B-C640-82D9-BE8796EAAB5E}" type="sibTrans" cxnId="{4DAD3AD3-7EE2-814A-87CD-9718B3D5FBB1}">
      <dgm:prSet/>
      <dgm:spPr/>
      <dgm:t>
        <a:bodyPr/>
        <a:lstStyle/>
        <a:p>
          <a:endParaRPr lang="en-US"/>
        </a:p>
      </dgm:t>
    </dgm:pt>
    <dgm:pt modelId="{DA3A1A6C-2B96-AE4D-9206-66AC900BDA35}" type="pres">
      <dgm:prSet presAssocID="{B96A56F0-E039-104F-8348-B0DEA033F59F}" presName="Name0" presStyleCnt="0">
        <dgm:presLayoutVars>
          <dgm:chMax/>
          <dgm:chPref/>
          <dgm:animLvl val="lvl"/>
        </dgm:presLayoutVars>
      </dgm:prSet>
      <dgm:spPr/>
    </dgm:pt>
    <dgm:pt modelId="{CF802414-E9D5-5F47-B0E9-9D6B7EBACE9F}" type="pres">
      <dgm:prSet presAssocID="{0DF5D03E-2C13-3548-88D8-F4A0293CDDAD}" presName="composite" presStyleCnt="0"/>
      <dgm:spPr/>
    </dgm:pt>
    <dgm:pt modelId="{8F89FEAC-4212-D44F-9896-4A0D510B376E}" type="pres">
      <dgm:prSet presAssocID="{0DF5D03E-2C13-3548-88D8-F4A0293CDDAD}" presName="Parent1" presStyleLbl="alignNode1" presStyleIdx="0" presStyleCnt="5">
        <dgm:presLayoutVars>
          <dgm:chMax val="1"/>
          <dgm:chPref val="1"/>
          <dgm:bulletEnabled val="1"/>
        </dgm:presLayoutVars>
      </dgm:prSet>
      <dgm:spPr/>
    </dgm:pt>
    <dgm:pt modelId="{86986BCA-8EA6-AC48-A0C7-31A9FB01DDDC}" type="pres">
      <dgm:prSet presAssocID="{0DF5D03E-2C13-3548-88D8-F4A0293CDDAD}" presName="Childtext1" presStyleLbl="revTx" presStyleIdx="0" presStyleCnt="5">
        <dgm:presLayoutVars>
          <dgm:chMax val="0"/>
          <dgm:chPref val="0"/>
          <dgm:bulletEnabled/>
        </dgm:presLayoutVars>
      </dgm:prSet>
      <dgm:spPr/>
    </dgm:pt>
    <dgm:pt modelId="{4210056C-8641-B24B-B844-F7079A5FDA66}" type="pres">
      <dgm:prSet presAssocID="{0DF5D03E-2C13-3548-88D8-F4A0293CDDAD}" presName="ConnectLine" presStyleLbl="sibTrans1D1" presStyleIdx="0" presStyleCnt="5"/>
      <dgm:spPr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81847641-2874-3D49-88FA-0B6C9164EAC1}" type="pres">
      <dgm:prSet presAssocID="{0DF5D03E-2C13-3548-88D8-F4A0293CDDAD}" presName="EmptyPane" presStyleCnt="0"/>
      <dgm:spPr/>
    </dgm:pt>
    <dgm:pt modelId="{419F5C42-915E-1A4D-8A44-7A36C4E157B0}" type="pres">
      <dgm:prSet presAssocID="{6EA030B0-1901-7A49-84A9-80A9483FFD0C}" presName="spaceBetweenRectangles" presStyleLbl="fgAcc1" presStyleIdx="0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8732D54B-0332-8940-A6F6-E47B231A0F7B}" type="pres">
      <dgm:prSet presAssocID="{83049137-7A05-B34E-8429-45999C9DA18B}" presName="composite" presStyleCnt="0"/>
      <dgm:spPr/>
    </dgm:pt>
    <dgm:pt modelId="{30729B38-C8B3-7B43-ABB7-71E8C1F1A74C}" type="pres">
      <dgm:prSet presAssocID="{83049137-7A05-B34E-8429-45999C9DA18B}" presName="Parent1" presStyleLbl="alignNode1" presStyleIdx="1" presStyleCnt="5">
        <dgm:presLayoutVars>
          <dgm:chMax val="1"/>
          <dgm:chPref val="1"/>
          <dgm:bulletEnabled val="1"/>
        </dgm:presLayoutVars>
      </dgm:prSet>
      <dgm:spPr/>
    </dgm:pt>
    <dgm:pt modelId="{5C45901F-97A8-594D-AC59-39599806A4CE}" type="pres">
      <dgm:prSet presAssocID="{83049137-7A05-B34E-8429-45999C9DA18B}" presName="Childtext1" presStyleLbl="revTx" presStyleIdx="1" presStyleCnt="5">
        <dgm:presLayoutVars>
          <dgm:chMax val="0"/>
          <dgm:chPref val="0"/>
          <dgm:bulletEnabled/>
        </dgm:presLayoutVars>
      </dgm:prSet>
      <dgm:spPr/>
    </dgm:pt>
    <dgm:pt modelId="{F83C85FD-E68F-7F46-A400-7A6E57E12EF3}" type="pres">
      <dgm:prSet presAssocID="{83049137-7A05-B34E-8429-45999C9DA18B}" presName="ConnectLine" presStyleLbl="sibTrans1D1" presStyleIdx="1" presStyleCnt="5"/>
      <dgm:spPr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842F15FB-E86E-CD42-A134-43E6D99022B9}" type="pres">
      <dgm:prSet presAssocID="{83049137-7A05-B34E-8429-45999C9DA18B}" presName="EmptyPane" presStyleCnt="0"/>
      <dgm:spPr/>
    </dgm:pt>
    <dgm:pt modelId="{3C640760-C446-D74B-A94B-D1DA8F76C0C4}" type="pres">
      <dgm:prSet presAssocID="{C27B4645-E475-8646-B023-72421A4207BA}" presName="spaceBetweenRectangles" presStyleLbl="fgAcc1" presStyleIdx="1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1712D864-D53A-AA4A-8D5E-296944872C59}" type="pres">
      <dgm:prSet presAssocID="{7E2F59DB-0F4E-9747-82CD-29814E73C976}" presName="composite" presStyleCnt="0"/>
      <dgm:spPr/>
    </dgm:pt>
    <dgm:pt modelId="{335A7491-D524-A948-B3BF-64B5D652CD7C}" type="pres">
      <dgm:prSet presAssocID="{7E2F59DB-0F4E-9747-82CD-29814E73C976}" presName="Parent1" presStyleLbl="alignNode1" presStyleIdx="2" presStyleCnt="5">
        <dgm:presLayoutVars>
          <dgm:chMax val="1"/>
          <dgm:chPref val="1"/>
          <dgm:bulletEnabled val="1"/>
        </dgm:presLayoutVars>
      </dgm:prSet>
      <dgm:spPr/>
    </dgm:pt>
    <dgm:pt modelId="{F9D412D8-C566-0543-9C5C-B4F45FECCF6F}" type="pres">
      <dgm:prSet presAssocID="{7E2F59DB-0F4E-9747-82CD-29814E73C976}" presName="Childtext1" presStyleLbl="revTx" presStyleIdx="2" presStyleCnt="5">
        <dgm:presLayoutVars>
          <dgm:chMax val="0"/>
          <dgm:chPref val="0"/>
          <dgm:bulletEnabled/>
        </dgm:presLayoutVars>
      </dgm:prSet>
      <dgm:spPr/>
    </dgm:pt>
    <dgm:pt modelId="{A131C512-718F-A04F-BEB7-7EADBC96DEE2}" type="pres">
      <dgm:prSet presAssocID="{7E2F59DB-0F4E-9747-82CD-29814E73C976}" presName="ConnectLine" presStyleLbl="sibTrans1D1" presStyleIdx="2" presStyleCnt="5"/>
      <dgm:spPr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C4825421-9F85-6148-8F4F-F9D157B0C7C5}" type="pres">
      <dgm:prSet presAssocID="{7E2F59DB-0F4E-9747-82CD-29814E73C976}" presName="EmptyPane" presStyleCnt="0"/>
      <dgm:spPr/>
    </dgm:pt>
    <dgm:pt modelId="{04C5DB94-88A5-544B-8C0F-D63382005DE7}" type="pres">
      <dgm:prSet presAssocID="{03810B2D-A100-7B43-9E01-2FC0629D8482}" presName="spaceBetweenRectangles" presStyleLbl="fgAcc1" presStyleIdx="2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8BEA1916-038F-EE48-889D-A65337E4831C}" type="pres">
      <dgm:prSet presAssocID="{C8DE06EB-C784-7C43-A21D-A3840DF9FA41}" presName="composite" presStyleCnt="0"/>
      <dgm:spPr/>
    </dgm:pt>
    <dgm:pt modelId="{6C436300-1052-4F4B-A188-5948C5ABBE6F}" type="pres">
      <dgm:prSet presAssocID="{C8DE06EB-C784-7C43-A21D-A3840DF9FA41}" presName="Parent1" presStyleLbl="alignNode1" presStyleIdx="3" presStyleCnt="5">
        <dgm:presLayoutVars>
          <dgm:chMax val="1"/>
          <dgm:chPref val="1"/>
          <dgm:bulletEnabled val="1"/>
        </dgm:presLayoutVars>
      </dgm:prSet>
      <dgm:spPr/>
    </dgm:pt>
    <dgm:pt modelId="{FDD3045C-88AD-614F-B1E2-DF0EF9BCB169}" type="pres">
      <dgm:prSet presAssocID="{C8DE06EB-C784-7C43-A21D-A3840DF9FA41}" presName="Childtext1" presStyleLbl="revTx" presStyleIdx="3" presStyleCnt="5">
        <dgm:presLayoutVars>
          <dgm:chMax val="0"/>
          <dgm:chPref val="0"/>
          <dgm:bulletEnabled/>
        </dgm:presLayoutVars>
      </dgm:prSet>
      <dgm:spPr/>
    </dgm:pt>
    <dgm:pt modelId="{4134AB7B-41A6-1C4B-99B4-FEB822578818}" type="pres">
      <dgm:prSet presAssocID="{C8DE06EB-C784-7C43-A21D-A3840DF9FA41}" presName="ConnectLine" presStyleLbl="sibTrans1D1" presStyleIdx="3" presStyleCnt="5"/>
      <dgm:spPr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6B18C652-F90C-9247-BA3B-960E4E4B36BF}" type="pres">
      <dgm:prSet presAssocID="{C8DE06EB-C784-7C43-A21D-A3840DF9FA41}" presName="EmptyPane" presStyleCnt="0"/>
      <dgm:spPr/>
    </dgm:pt>
    <dgm:pt modelId="{AC409AE6-7130-E349-BD27-14C3C8242F33}" type="pres">
      <dgm:prSet presAssocID="{AEEC4C2E-5C16-174C-B347-46509657925A}" presName="spaceBetweenRectangles" presStyleLbl="fgAcc1" presStyleIdx="3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3D86FA42-C786-9240-9EBE-EC519C1CFC2D}" type="pres">
      <dgm:prSet presAssocID="{5FCB9F99-2DAF-9740-B339-56554F042B76}" presName="composite" presStyleCnt="0"/>
      <dgm:spPr/>
    </dgm:pt>
    <dgm:pt modelId="{D1480CEA-BEB5-0440-87DB-D5845F2CEFA4}" type="pres">
      <dgm:prSet presAssocID="{5FCB9F99-2DAF-9740-B339-56554F042B76}" presName="Parent1" presStyleLbl="alignNode1" presStyleIdx="4" presStyleCnt="5">
        <dgm:presLayoutVars>
          <dgm:chMax val="1"/>
          <dgm:chPref val="1"/>
          <dgm:bulletEnabled val="1"/>
        </dgm:presLayoutVars>
      </dgm:prSet>
      <dgm:spPr/>
    </dgm:pt>
    <dgm:pt modelId="{76B479C2-19B8-504E-81B2-AD8BA31CE0DF}" type="pres">
      <dgm:prSet presAssocID="{5FCB9F99-2DAF-9740-B339-56554F042B76}" presName="Childtext1" presStyleLbl="revTx" presStyleIdx="4" presStyleCnt="5">
        <dgm:presLayoutVars>
          <dgm:chMax val="0"/>
          <dgm:chPref val="0"/>
          <dgm:bulletEnabled/>
        </dgm:presLayoutVars>
      </dgm:prSet>
      <dgm:spPr/>
    </dgm:pt>
    <dgm:pt modelId="{DC086E51-9B2D-824E-87E7-684E4FDBC10B}" type="pres">
      <dgm:prSet presAssocID="{5FCB9F99-2DAF-9740-B339-56554F042B76}" presName="ConnectLine" presStyleLbl="sibTrans1D1" presStyleIdx="4" presStyleCnt="5"/>
      <dgm:spPr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DAA43AF9-6114-D340-BBC3-1D00A2815E08}" type="pres">
      <dgm:prSet presAssocID="{5FCB9F99-2DAF-9740-B339-56554F042B76}" presName="EmptyPane" presStyleCnt="0"/>
      <dgm:spPr/>
    </dgm:pt>
  </dgm:ptLst>
  <dgm:cxnLst>
    <dgm:cxn modelId="{95F0F30E-DFDF-4142-AA4C-8CC9F491853C}" type="presOf" srcId="{7E2F59DB-0F4E-9747-82CD-29814E73C976}" destId="{335A7491-D524-A948-B3BF-64B5D652CD7C}" srcOrd="0" destOrd="0" presId="urn:microsoft.com/office/officeart/2024/3/layout/BlockTimeline"/>
    <dgm:cxn modelId="{919DFF11-BDC1-2640-9A5A-A4F416C9324D}" srcId="{B96A56F0-E039-104F-8348-B0DEA033F59F}" destId="{7E2F59DB-0F4E-9747-82CD-29814E73C976}" srcOrd="2" destOrd="0" parTransId="{4CEBCE10-92F6-6C4A-AFC5-36ECB0DC61F3}" sibTransId="{03810B2D-A100-7B43-9E01-2FC0629D8482}"/>
    <dgm:cxn modelId="{3ADB4727-02E2-BC44-BA5A-6105BF1029D1}" srcId="{83049137-7A05-B34E-8429-45999C9DA18B}" destId="{CD6ADDE5-43CA-3D45-91C9-AED20B79F2D3}" srcOrd="0" destOrd="0" parTransId="{5E91B747-0C06-B046-AD4D-C2A0A23134B5}" sibTransId="{4C0B675D-DEB5-B745-ACAA-FFDC83C10316}"/>
    <dgm:cxn modelId="{8F93AF28-4F31-C743-8A09-942EEC3B39E0}" type="presOf" srcId="{B96A56F0-E039-104F-8348-B0DEA033F59F}" destId="{DA3A1A6C-2B96-AE4D-9206-66AC900BDA35}" srcOrd="0" destOrd="0" presId="urn:microsoft.com/office/officeart/2024/3/layout/BlockTimeline"/>
    <dgm:cxn modelId="{C162892D-F1FB-B34E-8D75-4FAE74EC588D}" type="presOf" srcId="{5FCB9F99-2DAF-9740-B339-56554F042B76}" destId="{D1480CEA-BEB5-0440-87DB-D5845F2CEFA4}" srcOrd="0" destOrd="0" presId="urn:microsoft.com/office/officeart/2024/3/layout/BlockTimeline"/>
    <dgm:cxn modelId="{41C5AB32-B525-F94D-A409-661437CFC967}" type="presOf" srcId="{976EB8DC-295A-9B44-8DF3-D12BA414A71B}" destId="{86986BCA-8EA6-AC48-A0C7-31A9FB01DDDC}" srcOrd="0" destOrd="0" presId="urn:microsoft.com/office/officeart/2024/3/layout/BlockTimeline"/>
    <dgm:cxn modelId="{C5662A35-93CB-1146-8384-CA06558FCFDD}" type="presOf" srcId="{CD6ADDE5-43CA-3D45-91C9-AED20B79F2D3}" destId="{5C45901F-97A8-594D-AC59-39599806A4CE}" srcOrd="0" destOrd="0" presId="urn:microsoft.com/office/officeart/2024/3/layout/BlockTimeline"/>
    <dgm:cxn modelId="{A88C2C36-A7BD-264F-9665-02120839187C}" type="presOf" srcId="{83049137-7A05-B34E-8429-45999C9DA18B}" destId="{30729B38-C8B3-7B43-ABB7-71E8C1F1A74C}" srcOrd="0" destOrd="0" presId="urn:microsoft.com/office/officeart/2024/3/layout/BlockTimeline"/>
    <dgm:cxn modelId="{C9976939-7ABA-3A42-8029-86AF87631CFE}" type="presOf" srcId="{25A862BF-8803-A342-9E54-0794BACA2FF7}" destId="{FDD3045C-88AD-614F-B1E2-DF0EF9BCB169}" srcOrd="0" destOrd="0" presId="urn:microsoft.com/office/officeart/2024/3/layout/BlockTimeline"/>
    <dgm:cxn modelId="{87102450-9C9A-CC4F-A5B1-B7172601B80B}" srcId="{B96A56F0-E039-104F-8348-B0DEA033F59F}" destId="{C8DE06EB-C784-7C43-A21D-A3840DF9FA41}" srcOrd="3" destOrd="0" parTransId="{935922A5-AA0D-9B4E-BB7E-9F96406B25CC}" sibTransId="{AEEC4C2E-5C16-174C-B347-46509657925A}"/>
    <dgm:cxn modelId="{E0B93C59-1889-C341-9DBF-0D241D731BED}" srcId="{B96A56F0-E039-104F-8348-B0DEA033F59F}" destId="{0DF5D03E-2C13-3548-88D8-F4A0293CDDAD}" srcOrd="0" destOrd="0" parTransId="{71BFE3D0-DEB2-5043-B299-755258FFB3AE}" sibTransId="{6EA030B0-1901-7A49-84A9-80A9483FFD0C}"/>
    <dgm:cxn modelId="{C3804799-C0E2-3849-A84A-EE34159E6E5C}" type="presOf" srcId="{0DF5D03E-2C13-3548-88D8-F4A0293CDDAD}" destId="{8F89FEAC-4212-D44F-9896-4A0D510B376E}" srcOrd="0" destOrd="0" presId="urn:microsoft.com/office/officeart/2024/3/layout/BlockTimeline"/>
    <dgm:cxn modelId="{27AC969C-6961-6042-A48B-B594672C8B50}" srcId="{B96A56F0-E039-104F-8348-B0DEA033F59F}" destId="{5FCB9F99-2DAF-9740-B339-56554F042B76}" srcOrd="4" destOrd="0" parTransId="{8229389D-86B9-604F-8B2B-93CC12A48CFD}" sibTransId="{C0058210-325F-1D49-B850-E95C449FF825}"/>
    <dgm:cxn modelId="{4915E6A8-2BA5-544A-8EBF-47451EF49D7E}" srcId="{7E2F59DB-0F4E-9747-82CD-29814E73C976}" destId="{46767178-3365-BD42-AE7B-990E5F67F1A8}" srcOrd="0" destOrd="0" parTransId="{10D3EA44-470A-1943-BA37-567983014CB2}" sibTransId="{4BEA3205-1B32-CC4D-AABF-29CDB2EADFB6}"/>
    <dgm:cxn modelId="{AED146C3-641E-5741-B99C-DDCA8E3276BA}" srcId="{B96A56F0-E039-104F-8348-B0DEA033F59F}" destId="{83049137-7A05-B34E-8429-45999C9DA18B}" srcOrd="1" destOrd="0" parTransId="{4E28112A-E0DA-4742-ACCB-A4910890B6C1}" sibTransId="{C27B4645-E475-8646-B023-72421A4207BA}"/>
    <dgm:cxn modelId="{946858C6-AEED-E74E-B16E-43A0EBA523E5}" srcId="{C8DE06EB-C784-7C43-A21D-A3840DF9FA41}" destId="{25A862BF-8803-A342-9E54-0794BACA2FF7}" srcOrd="0" destOrd="0" parTransId="{0D85D3DF-612F-7D4F-B41E-C13B9B78DCB3}" sibTransId="{8D1CFCAB-BDF5-E04B-BA2B-1DA17870D28E}"/>
    <dgm:cxn modelId="{4DAD3AD3-7EE2-814A-87CD-9718B3D5FBB1}" srcId="{5FCB9F99-2DAF-9740-B339-56554F042B76}" destId="{2DD32AE7-979C-8A48-AE2C-45E743FC289D}" srcOrd="0" destOrd="0" parTransId="{34F831CC-764B-494B-B24D-9B89EABB89A8}" sibTransId="{0255C339-D22B-C640-82D9-BE8796EAAB5E}"/>
    <dgm:cxn modelId="{BBD596D7-50FF-844D-AD43-C12C88848DF3}" type="presOf" srcId="{46767178-3365-BD42-AE7B-990E5F67F1A8}" destId="{F9D412D8-C566-0543-9C5C-B4F45FECCF6F}" srcOrd="0" destOrd="0" presId="urn:microsoft.com/office/officeart/2024/3/layout/BlockTimeline"/>
    <dgm:cxn modelId="{DB84A7D8-58BE-9646-B600-17A7C3959B52}" type="presOf" srcId="{2DD32AE7-979C-8A48-AE2C-45E743FC289D}" destId="{76B479C2-19B8-504E-81B2-AD8BA31CE0DF}" srcOrd="0" destOrd="0" presId="urn:microsoft.com/office/officeart/2024/3/layout/BlockTimeline"/>
    <dgm:cxn modelId="{50C849E3-9793-5741-934A-F4CADA0FA6A6}" type="presOf" srcId="{C8DE06EB-C784-7C43-A21D-A3840DF9FA41}" destId="{6C436300-1052-4F4B-A188-5948C5ABBE6F}" srcOrd="0" destOrd="0" presId="urn:microsoft.com/office/officeart/2024/3/layout/BlockTimeline"/>
    <dgm:cxn modelId="{22B2EAFB-BF41-704A-A1EA-C1E04456BB7D}" srcId="{0DF5D03E-2C13-3548-88D8-F4A0293CDDAD}" destId="{976EB8DC-295A-9B44-8DF3-D12BA414A71B}" srcOrd="0" destOrd="0" parTransId="{F6E95750-6113-6942-9BFC-44C60ACB29DF}" sibTransId="{B448CABD-2F27-6946-892B-91B82A5FFB4E}"/>
    <dgm:cxn modelId="{1FC066DC-077E-DA40-908F-A560AB1DB67C}" type="presParOf" srcId="{DA3A1A6C-2B96-AE4D-9206-66AC900BDA35}" destId="{CF802414-E9D5-5F47-B0E9-9D6B7EBACE9F}" srcOrd="0" destOrd="0" presId="urn:microsoft.com/office/officeart/2024/3/layout/BlockTimeline"/>
    <dgm:cxn modelId="{E38833A8-8319-8747-A2A5-36F57CDB70A5}" type="presParOf" srcId="{CF802414-E9D5-5F47-B0E9-9D6B7EBACE9F}" destId="{8F89FEAC-4212-D44F-9896-4A0D510B376E}" srcOrd="0" destOrd="0" presId="urn:microsoft.com/office/officeart/2024/3/layout/BlockTimeline"/>
    <dgm:cxn modelId="{D89AD367-AF40-3147-83ED-28F51E5222A4}" type="presParOf" srcId="{CF802414-E9D5-5F47-B0E9-9D6B7EBACE9F}" destId="{86986BCA-8EA6-AC48-A0C7-31A9FB01DDDC}" srcOrd="1" destOrd="0" presId="urn:microsoft.com/office/officeart/2024/3/layout/BlockTimeline"/>
    <dgm:cxn modelId="{12A4330F-BB65-9141-8A70-69689A2742EF}" type="presParOf" srcId="{CF802414-E9D5-5F47-B0E9-9D6B7EBACE9F}" destId="{4210056C-8641-B24B-B844-F7079A5FDA66}" srcOrd="2" destOrd="0" presId="urn:microsoft.com/office/officeart/2024/3/layout/BlockTimeline"/>
    <dgm:cxn modelId="{44FF497A-6A0D-B649-9AB2-C46FAFF4CF0F}" type="presParOf" srcId="{CF802414-E9D5-5F47-B0E9-9D6B7EBACE9F}" destId="{81847641-2874-3D49-88FA-0B6C9164EAC1}" srcOrd="3" destOrd="0" presId="urn:microsoft.com/office/officeart/2024/3/layout/BlockTimeline"/>
    <dgm:cxn modelId="{EE5FCF74-5292-7D4A-92B8-1904BA028912}" type="presParOf" srcId="{DA3A1A6C-2B96-AE4D-9206-66AC900BDA35}" destId="{419F5C42-915E-1A4D-8A44-7A36C4E157B0}" srcOrd="1" destOrd="0" presId="urn:microsoft.com/office/officeart/2024/3/layout/BlockTimeline"/>
    <dgm:cxn modelId="{5DB6215C-E9FC-304B-B867-1E963A9E9C05}" type="presParOf" srcId="{DA3A1A6C-2B96-AE4D-9206-66AC900BDA35}" destId="{8732D54B-0332-8940-A6F6-E47B231A0F7B}" srcOrd="2" destOrd="0" presId="urn:microsoft.com/office/officeart/2024/3/layout/BlockTimeline"/>
    <dgm:cxn modelId="{39CF9AE3-60C7-4B41-86AE-7BC6E677A82D}" type="presParOf" srcId="{8732D54B-0332-8940-A6F6-E47B231A0F7B}" destId="{30729B38-C8B3-7B43-ABB7-71E8C1F1A74C}" srcOrd="0" destOrd="0" presId="urn:microsoft.com/office/officeart/2024/3/layout/BlockTimeline"/>
    <dgm:cxn modelId="{16D4A075-E5FC-D741-8FA8-8B4DA3A83037}" type="presParOf" srcId="{8732D54B-0332-8940-A6F6-E47B231A0F7B}" destId="{5C45901F-97A8-594D-AC59-39599806A4CE}" srcOrd="1" destOrd="0" presId="urn:microsoft.com/office/officeart/2024/3/layout/BlockTimeline"/>
    <dgm:cxn modelId="{C71B9E75-5DC4-0B45-B165-EA85D6B9533E}" type="presParOf" srcId="{8732D54B-0332-8940-A6F6-E47B231A0F7B}" destId="{F83C85FD-E68F-7F46-A400-7A6E57E12EF3}" srcOrd="2" destOrd="0" presId="urn:microsoft.com/office/officeart/2024/3/layout/BlockTimeline"/>
    <dgm:cxn modelId="{F1C8D89E-6FC5-2F41-B1D5-EEC81F2F4027}" type="presParOf" srcId="{8732D54B-0332-8940-A6F6-E47B231A0F7B}" destId="{842F15FB-E86E-CD42-A134-43E6D99022B9}" srcOrd="3" destOrd="0" presId="urn:microsoft.com/office/officeart/2024/3/layout/BlockTimeline"/>
    <dgm:cxn modelId="{F03FF0F9-33DA-4047-B9CE-A25A252B90E8}" type="presParOf" srcId="{DA3A1A6C-2B96-AE4D-9206-66AC900BDA35}" destId="{3C640760-C446-D74B-A94B-D1DA8F76C0C4}" srcOrd="3" destOrd="0" presId="urn:microsoft.com/office/officeart/2024/3/layout/BlockTimeline"/>
    <dgm:cxn modelId="{8E3E17D0-B307-C24B-85FD-E41204404CED}" type="presParOf" srcId="{DA3A1A6C-2B96-AE4D-9206-66AC900BDA35}" destId="{1712D864-D53A-AA4A-8D5E-296944872C59}" srcOrd="4" destOrd="0" presId="urn:microsoft.com/office/officeart/2024/3/layout/BlockTimeline"/>
    <dgm:cxn modelId="{123D8518-43D2-AC4F-827C-05500620B57C}" type="presParOf" srcId="{1712D864-D53A-AA4A-8D5E-296944872C59}" destId="{335A7491-D524-A948-B3BF-64B5D652CD7C}" srcOrd="0" destOrd="0" presId="urn:microsoft.com/office/officeart/2024/3/layout/BlockTimeline"/>
    <dgm:cxn modelId="{A0A846E1-DA90-0E49-A695-F594936D4AD3}" type="presParOf" srcId="{1712D864-D53A-AA4A-8D5E-296944872C59}" destId="{F9D412D8-C566-0543-9C5C-B4F45FECCF6F}" srcOrd="1" destOrd="0" presId="urn:microsoft.com/office/officeart/2024/3/layout/BlockTimeline"/>
    <dgm:cxn modelId="{686440DD-FE64-0C42-B345-A9D505FC28CA}" type="presParOf" srcId="{1712D864-D53A-AA4A-8D5E-296944872C59}" destId="{A131C512-718F-A04F-BEB7-7EADBC96DEE2}" srcOrd="2" destOrd="0" presId="urn:microsoft.com/office/officeart/2024/3/layout/BlockTimeline"/>
    <dgm:cxn modelId="{8D7B7669-3232-3A4D-A899-ADD86353A71F}" type="presParOf" srcId="{1712D864-D53A-AA4A-8D5E-296944872C59}" destId="{C4825421-9F85-6148-8F4F-F9D157B0C7C5}" srcOrd="3" destOrd="0" presId="urn:microsoft.com/office/officeart/2024/3/layout/BlockTimeline"/>
    <dgm:cxn modelId="{4523363A-3A9E-B946-AE57-DA28F926FA98}" type="presParOf" srcId="{DA3A1A6C-2B96-AE4D-9206-66AC900BDA35}" destId="{04C5DB94-88A5-544B-8C0F-D63382005DE7}" srcOrd="5" destOrd="0" presId="urn:microsoft.com/office/officeart/2024/3/layout/BlockTimeline"/>
    <dgm:cxn modelId="{DB0BA71A-788B-9143-B9D4-B9B5BDAFC970}" type="presParOf" srcId="{DA3A1A6C-2B96-AE4D-9206-66AC900BDA35}" destId="{8BEA1916-038F-EE48-889D-A65337E4831C}" srcOrd="6" destOrd="0" presId="urn:microsoft.com/office/officeart/2024/3/layout/BlockTimeline"/>
    <dgm:cxn modelId="{C3A44F2B-C9AE-BD4E-A2F9-16EFBAD59622}" type="presParOf" srcId="{8BEA1916-038F-EE48-889D-A65337E4831C}" destId="{6C436300-1052-4F4B-A188-5948C5ABBE6F}" srcOrd="0" destOrd="0" presId="urn:microsoft.com/office/officeart/2024/3/layout/BlockTimeline"/>
    <dgm:cxn modelId="{3EC8B3DC-AA02-FE4A-A179-D1885DBE6F43}" type="presParOf" srcId="{8BEA1916-038F-EE48-889D-A65337E4831C}" destId="{FDD3045C-88AD-614F-B1E2-DF0EF9BCB169}" srcOrd="1" destOrd="0" presId="urn:microsoft.com/office/officeart/2024/3/layout/BlockTimeline"/>
    <dgm:cxn modelId="{A0B2694F-1363-4447-B56E-A09C4F7E5C3A}" type="presParOf" srcId="{8BEA1916-038F-EE48-889D-A65337E4831C}" destId="{4134AB7B-41A6-1C4B-99B4-FEB822578818}" srcOrd="2" destOrd="0" presId="urn:microsoft.com/office/officeart/2024/3/layout/BlockTimeline"/>
    <dgm:cxn modelId="{35F2A36F-8DDE-E34D-A12A-79C64B009532}" type="presParOf" srcId="{8BEA1916-038F-EE48-889D-A65337E4831C}" destId="{6B18C652-F90C-9247-BA3B-960E4E4B36BF}" srcOrd="3" destOrd="0" presId="urn:microsoft.com/office/officeart/2024/3/layout/BlockTimeline"/>
    <dgm:cxn modelId="{66E50D8F-74B8-3F4C-84FB-C4DA83E5F6D7}" type="presParOf" srcId="{DA3A1A6C-2B96-AE4D-9206-66AC900BDA35}" destId="{AC409AE6-7130-E349-BD27-14C3C8242F33}" srcOrd="7" destOrd="0" presId="urn:microsoft.com/office/officeart/2024/3/layout/BlockTimeline"/>
    <dgm:cxn modelId="{D6AA32CF-D9E5-9F44-A976-C18FAD48B427}" type="presParOf" srcId="{DA3A1A6C-2B96-AE4D-9206-66AC900BDA35}" destId="{3D86FA42-C786-9240-9EBE-EC519C1CFC2D}" srcOrd="8" destOrd="0" presId="urn:microsoft.com/office/officeart/2024/3/layout/BlockTimeline"/>
    <dgm:cxn modelId="{730637C3-069E-9248-A078-EC30CAA86AFF}" type="presParOf" srcId="{3D86FA42-C786-9240-9EBE-EC519C1CFC2D}" destId="{D1480CEA-BEB5-0440-87DB-D5845F2CEFA4}" srcOrd="0" destOrd="0" presId="urn:microsoft.com/office/officeart/2024/3/layout/BlockTimeline"/>
    <dgm:cxn modelId="{5E35DBA3-0C68-AC40-B68D-7B46EDA42707}" type="presParOf" srcId="{3D86FA42-C786-9240-9EBE-EC519C1CFC2D}" destId="{76B479C2-19B8-504E-81B2-AD8BA31CE0DF}" srcOrd="1" destOrd="0" presId="urn:microsoft.com/office/officeart/2024/3/layout/BlockTimeline"/>
    <dgm:cxn modelId="{A0651EDC-8219-FF47-9F57-4D147E95078B}" type="presParOf" srcId="{3D86FA42-C786-9240-9EBE-EC519C1CFC2D}" destId="{DC086E51-9B2D-824E-87E7-684E4FDBC10B}" srcOrd="2" destOrd="0" presId="urn:microsoft.com/office/officeart/2024/3/layout/BlockTimeline"/>
    <dgm:cxn modelId="{67F5D3F0-A85B-3141-9930-BE0B566C5E5E}" type="presParOf" srcId="{3D86FA42-C786-9240-9EBE-EC519C1CFC2D}" destId="{DAA43AF9-6114-D340-BBC3-1D00A2815E08}" srcOrd="3" destOrd="0" presId="urn:microsoft.com/office/officeart/2024/3/layout/Block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88CE0-6325-DC47-BF8E-8D1EA2A9603E}">
      <dsp:nvSpPr>
        <dsp:cNvPr id="0" name=""/>
        <dsp:cNvSpPr/>
      </dsp:nvSpPr>
      <dsp:spPr>
        <a:xfrm>
          <a:off x="4314349" y="4730907"/>
          <a:ext cx="346091" cy="3618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045" y="0"/>
              </a:lnTo>
              <a:lnTo>
                <a:pt x="173045" y="361887"/>
              </a:lnTo>
              <a:lnTo>
                <a:pt x="346091" y="361887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98D865-E816-854E-B4E9-0943E3C580E6}">
      <dsp:nvSpPr>
        <dsp:cNvPr id="0" name=""/>
        <dsp:cNvSpPr/>
      </dsp:nvSpPr>
      <dsp:spPr>
        <a:xfrm>
          <a:off x="4314349" y="4358859"/>
          <a:ext cx="346091" cy="372047"/>
        </a:xfrm>
        <a:custGeom>
          <a:avLst/>
          <a:gdLst/>
          <a:ahLst/>
          <a:cxnLst/>
          <a:rect l="0" t="0" r="0" b="0"/>
          <a:pathLst>
            <a:path>
              <a:moveTo>
                <a:pt x="0" y="372047"/>
              </a:moveTo>
              <a:lnTo>
                <a:pt x="173045" y="372047"/>
              </a:lnTo>
              <a:lnTo>
                <a:pt x="173045" y="0"/>
              </a:lnTo>
              <a:lnTo>
                <a:pt x="346091" y="0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7F133D-6E22-6340-991E-444DE3FF09B1}">
      <dsp:nvSpPr>
        <dsp:cNvPr id="0" name=""/>
        <dsp:cNvSpPr/>
      </dsp:nvSpPr>
      <dsp:spPr>
        <a:xfrm>
          <a:off x="2237803" y="2498620"/>
          <a:ext cx="346091" cy="22322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045" y="0"/>
              </a:lnTo>
              <a:lnTo>
                <a:pt x="173045" y="2232287"/>
              </a:lnTo>
              <a:lnTo>
                <a:pt x="346091" y="2232287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2CDA00-70DE-F144-BA06-C3EF53AE94EA}">
      <dsp:nvSpPr>
        <dsp:cNvPr id="0" name=""/>
        <dsp:cNvSpPr/>
      </dsp:nvSpPr>
      <dsp:spPr>
        <a:xfrm>
          <a:off x="2237803" y="2498620"/>
          <a:ext cx="346091" cy="1488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045" y="0"/>
              </a:lnTo>
              <a:lnTo>
                <a:pt x="173045" y="1488191"/>
              </a:lnTo>
              <a:lnTo>
                <a:pt x="346091" y="1488191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400A3B-D6B7-7845-9369-773C8709F47F}">
      <dsp:nvSpPr>
        <dsp:cNvPr id="0" name=""/>
        <dsp:cNvSpPr/>
      </dsp:nvSpPr>
      <dsp:spPr>
        <a:xfrm>
          <a:off x="2237803" y="2498620"/>
          <a:ext cx="346091" cy="7440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045" y="0"/>
              </a:lnTo>
              <a:lnTo>
                <a:pt x="173045" y="744095"/>
              </a:lnTo>
              <a:lnTo>
                <a:pt x="346091" y="74409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9CB8A1-69FF-6E49-985B-319088E7164C}">
      <dsp:nvSpPr>
        <dsp:cNvPr id="0" name=""/>
        <dsp:cNvSpPr/>
      </dsp:nvSpPr>
      <dsp:spPr>
        <a:xfrm>
          <a:off x="2237803" y="2452900"/>
          <a:ext cx="34609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46091" y="45720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F37CE0-EA8E-ED4C-8184-A3DB32BF259E}">
      <dsp:nvSpPr>
        <dsp:cNvPr id="0" name=""/>
        <dsp:cNvSpPr/>
      </dsp:nvSpPr>
      <dsp:spPr>
        <a:xfrm>
          <a:off x="4314349" y="1754524"/>
          <a:ext cx="346091" cy="3720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045" y="0"/>
              </a:lnTo>
              <a:lnTo>
                <a:pt x="173045" y="372047"/>
              </a:lnTo>
              <a:lnTo>
                <a:pt x="346091" y="372047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AB4DED-39BD-1D4C-900D-56C59C038C61}">
      <dsp:nvSpPr>
        <dsp:cNvPr id="0" name=""/>
        <dsp:cNvSpPr/>
      </dsp:nvSpPr>
      <dsp:spPr>
        <a:xfrm>
          <a:off x="4314349" y="1382476"/>
          <a:ext cx="346091" cy="372047"/>
        </a:xfrm>
        <a:custGeom>
          <a:avLst/>
          <a:gdLst/>
          <a:ahLst/>
          <a:cxnLst/>
          <a:rect l="0" t="0" r="0" b="0"/>
          <a:pathLst>
            <a:path>
              <a:moveTo>
                <a:pt x="0" y="372047"/>
              </a:moveTo>
              <a:lnTo>
                <a:pt x="173045" y="372047"/>
              </a:lnTo>
              <a:lnTo>
                <a:pt x="173045" y="0"/>
              </a:lnTo>
              <a:lnTo>
                <a:pt x="346091" y="0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7C3A94-4D51-4A41-8B02-B52620026DC9}">
      <dsp:nvSpPr>
        <dsp:cNvPr id="0" name=""/>
        <dsp:cNvSpPr/>
      </dsp:nvSpPr>
      <dsp:spPr>
        <a:xfrm>
          <a:off x="2237803" y="1754524"/>
          <a:ext cx="346091" cy="744095"/>
        </a:xfrm>
        <a:custGeom>
          <a:avLst/>
          <a:gdLst/>
          <a:ahLst/>
          <a:cxnLst/>
          <a:rect l="0" t="0" r="0" b="0"/>
          <a:pathLst>
            <a:path>
              <a:moveTo>
                <a:pt x="0" y="744095"/>
              </a:moveTo>
              <a:lnTo>
                <a:pt x="173045" y="744095"/>
              </a:lnTo>
              <a:lnTo>
                <a:pt x="173045" y="0"/>
              </a:lnTo>
              <a:lnTo>
                <a:pt x="346091" y="0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FF9F34-46EE-8D4F-B69F-B4D5B03099F0}">
      <dsp:nvSpPr>
        <dsp:cNvPr id="0" name=""/>
        <dsp:cNvSpPr/>
      </dsp:nvSpPr>
      <dsp:spPr>
        <a:xfrm>
          <a:off x="2237803" y="1010428"/>
          <a:ext cx="346091" cy="1488191"/>
        </a:xfrm>
        <a:custGeom>
          <a:avLst/>
          <a:gdLst/>
          <a:ahLst/>
          <a:cxnLst/>
          <a:rect l="0" t="0" r="0" b="0"/>
          <a:pathLst>
            <a:path>
              <a:moveTo>
                <a:pt x="0" y="1488191"/>
              </a:moveTo>
              <a:lnTo>
                <a:pt x="173045" y="1488191"/>
              </a:lnTo>
              <a:lnTo>
                <a:pt x="173045" y="0"/>
              </a:lnTo>
              <a:lnTo>
                <a:pt x="346091" y="0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287D07-0D9A-9645-991A-D6FF37952DDD}">
      <dsp:nvSpPr>
        <dsp:cNvPr id="0" name=""/>
        <dsp:cNvSpPr/>
      </dsp:nvSpPr>
      <dsp:spPr>
        <a:xfrm>
          <a:off x="2237803" y="266332"/>
          <a:ext cx="346091" cy="2232287"/>
        </a:xfrm>
        <a:custGeom>
          <a:avLst/>
          <a:gdLst/>
          <a:ahLst/>
          <a:cxnLst/>
          <a:rect l="0" t="0" r="0" b="0"/>
          <a:pathLst>
            <a:path>
              <a:moveTo>
                <a:pt x="0" y="2232287"/>
              </a:moveTo>
              <a:lnTo>
                <a:pt x="173045" y="2232287"/>
              </a:lnTo>
              <a:lnTo>
                <a:pt x="173045" y="0"/>
              </a:lnTo>
              <a:lnTo>
                <a:pt x="346091" y="0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7A53C-59D8-ED43-85F6-1625E4AA18FB}">
      <dsp:nvSpPr>
        <dsp:cNvPr id="0" name=""/>
        <dsp:cNvSpPr/>
      </dsp:nvSpPr>
      <dsp:spPr>
        <a:xfrm>
          <a:off x="507347" y="2234725"/>
          <a:ext cx="1730455" cy="527788"/>
        </a:xfrm>
        <a:prstGeom prst="rect">
          <a:avLst/>
        </a:prstGeom>
        <a:solidFill>
          <a:srgbClr val="001E6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38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507347" y="2234725"/>
        <a:ext cx="1730455" cy="527788"/>
      </dsp:txXfrm>
    </dsp:sp>
    <dsp:sp modelId="{C25B7717-E7EC-344C-B0C3-106C542AB681}">
      <dsp:nvSpPr>
        <dsp:cNvPr id="0" name=""/>
        <dsp:cNvSpPr/>
      </dsp:nvSpPr>
      <dsp:spPr>
        <a:xfrm>
          <a:off x="2583894" y="2437"/>
          <a:ext cx="1730455" cy="527788"/>
        </a:xfrm>
        <a:prstGeom prst="rect">
          <a:avLst/>
        </a:prstGeom>
        <a:solidFill>
          <a:srgbClr val="A42C2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583894" y="2437"/>
        <a:ext cx="1730455" cy="527788"/>
      </dsp:txXfrm>
    </dsp:sp>
    <dsp:sp modelId="{7AC527E1-CE8C-FD46-9799-FA37531ACC40}">
      <dsp:nvSpPr>
        <dsp:cNvPr id="0" name=""/>
        <dsp:cNvSpPr/>
      </dsp:nvSpPr>
      <dsp:spPr>
        <a:xfrm>
          <a:off x="2583894" y="746533"/>
          <a:ext cx="1730455" cy="527788"/>
        </a:xfrm>
        <a:prstGeom prst="rect">
          <a:avLst/>
        </a:prstGeom>
        <a:solidFill>
          <a:srgbClr val="A42C2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583894" y="746533"/>
        <a:ext cx="1730455" cy="527788"/>
      </dsp:txXfrm>
    </dsp:sp>
    <dsp:sp modelId="{5EDF934A-5180-9447-BA89-C77FDFE081B1}">
      <dsp:nvSpPr>
        <dsp:cNvPr id="0" name=""/>
        <dsp:cNvSpPr/>
      </dsp:nvSpPr>
      <dsp:spPr>
        <a:xfrm>
          <a:off x="2583894" y="1490629"/>
          <a:ext cx="1730455" cy="527788"/>
        </a:xfrm>
        <a:prstGeom prst="rect">
          <a:avLst/>
        </a:prstGeom>
        <a:solidFill>
          <a:srgbClr val="A42C2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583894" y="1490629"/>
        <a:ext cx="1730455" cy="527788"/>
      </dsp:txXfrm>
    </dsp:sp>
    <dsp:sp modelId="{95E6837A-7B66-8548-B97F-41BB7787935B}">
      <dsp:nvSpPr>
        <dsp:cNvPr id="0" name=""/>
        <dsp:cNvSpPr/>
      </dsp:nvSpPr>
      <dsp:spPr>
        <a:xfrm>
          <a:off x="4660440" y="1118581"/>
          <a:ext cx="1730455" cy="527788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b="1" i="0" kern="120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4660440" y="1118581"/>
        <a:ext cx="1730455" cy="527788"/>
      </dsp:txXfrm>
    </dsp:sp>
    <dsp:sp modelId="{CA9E075C-06FD-1A4E-8B3B-95CFBF82D487}">
      <dsp:nvSpPr>
        <dsp:cNvPr id="0" name=""/>
        <dsp:cNvSpPr/>
      </dsp:nvSpPr>
      <dsp:spPr>
        <a:xfrm>
          <a:off x="4660440" y="1862677"/>
          <a:ext cx="1730455" cy="527788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>
            <a:solidFill>
              <a:srgbClr val="001E60"/>
            </a:solidFill>
          </a:endParaRPr>
        </a:p>
      </dsp:txBody>
      <dsp:txXfrm>
        <a:off x="4660440" y="1862677"/>
        <a:ext cx="1730455" cy="527788"/>
      </dsp:txXfrm>
    </dsp:sp>
    <dsp:sp modelId="{17560603-6AF9-EC49-BABD-4A100DC62357}">
      <dsp:nvSpPr>
        <dsp:cNvPr id="0" name=""/>
        <dsp:cNvSpPr/>
      </dsp:nvSpPr>
      <dsp:spPr>
        <a:xfrm>
          <a:off x="2583894" y="2234725"/>
          <a:ext cx="1730455" cy="527788"/>
        </a:xfrm>
        <a:prstGeom prst="rect">
          <a:avLst/>
        </a:prstGeom>
        <a:solidFill>
          <a:srgbClr val="A42C2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583894" y="2234725"/>
        <a:ext cx="1730455" cy="527788"/>
      </dsp:txXfrm>
    </dsp:sp>
    <dsp:sp modelId="{13609F6B-CF32-754E-BE01-D8544AD7CA59}">
      <dsp:nvSpPr>
        <dsp:cNvPr id="0" name=""/>
        <dsp:cNvSpPr/>
      </dsp:nvSpPr>
      <dsp:spPr>
        <a:xfrm>
          <a:off x="2583894" y="2978821"/>
          <a:ext cx="1730455" cy="527788"/>
        </a:xfrm>
        <a:prstGeom prst="rect">
          <a:avLst/>
        </a:prstGeom>
        <a:solidFill>
          <a:srgbClr val="A42C2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583894" y="2978821"/>
        <a:ext cx="1730455" cy="527788"/>
      </dsp:txXfrm>
    </dsp:sp>
    <dsp:sp modelId="{BF6B326C-A2A0-BC4B-A6EA-78584A57DF06}">
      <dsp:nvSpPr>
        <dsp:cNvPr id="0" name=""/>
        <dsp:cNvSpPr/>
      </dsp:nvSpPr>
      <dsp:spPr>
        <a:xfrm>
          <a:off x="2583894" y="3722917"/>
          <a:ext cx="1730455" cy="527788"/>
        </a:xfrm>
        <a:prstGeom prst="rect">
          <a:avLst/>
        </a:prstGeom>
        <a:solidFill>
          <a:srgbClr val="A42C2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583894" y="3722917"/>
        <a:ext cx="1730455" cy="527788"/>
      </dsp:txXfrm>
    </dsp:sp>
    <dsp:sp modelId="{BC689DF6-5924-B34D-8D15-2BD0AC03EAA6}">
      <dsp:nvSpPr>
        <dsp:cNvPr id="0" name=""/>
        <dsp:cNvSpPr/>
      </dsp:nvSpPr>
      <dsp:spPr>
        <a:xfrm>
          <a:off x="2583894" y="4467013"/>
          <a:ext cx="1730455" cy="527788"/>
        </a:xfrm>
        <a:prstGeom prst="rect">
          <a:avLst/>
        </a:prstGeom>
        <a:solidFill>
          <a:srgbClr val="A42C2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583894" y="4467013"/>
        <a:ext cx="1730455" cy="527788"/>
      </dsp:txXfrm>
    </dsp:sp>
    <dsp:sp modelId="{692E4B00-DFE1-2E40-83E7-A38A1B9D6243}">
      <dsp:nvSpPr>
        <dsp:cNvPr id="0" name=""/>
        <dsp:cNvSpPr/>
      </dsp:nvSpPr>
      <dsp:spPr>
        <a:xfrm>
          <a:off x="4660440" y="4094965"/>
          <a:ext cx="1730455" cy="527788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b="1" i="0" kern="120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4660440" y="4094965"/>
        <a:ext cx="1730455" cy="527788"/>
      </dsp:txXfrm>
    </dsp:sp>
    <dsp:sp modelId="{5E65623A-A7BD-C646-9F46-F81DEC3D93DE}">
      <dsp:nvSpPr>
        <dsp:cNvPr id="0" name=""/>
        <dsp:cNvSpPr/>
      </dsp:nvSpPr>
      <dsp:spPr>
        <a:xfrm>
          <a:off x="4660440" y="4828901"/>
          <a:ext cx="1730455" cy="527788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>
            <a:solidFill>
              <a:srgbClr val="001E60"/>
            </a:solidFill>
          </a:endParaRPr>
        </a:p>
      </dsp:txBody>
      <dsp:txXfrm>
        <a:off x="4660440" y="4828901"/>
        <a:ext cx="1730455" cy="5277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4814B3-18C8-954A-B370-2ECFA2BDB7F6}">
      <dsp:nvSpPr>
        <dsp:cNvPr id="0" name=""/>
        <dsp:cNvSpPr/>
      </dsp:nvSpPr>
      <dsp:spPr>
        <a:xfrm>
          <a:off x="5050822" y="2258846"/>
          <a:ext cx="4429150" cy="2337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6852"/>
              </a:lnTo>
              <a:lnTo>
                <a:pt x="4429150" y="116852"/>
              </a:lnTo>
              <a:lnTo>
                <a:pt x="4429150" y="23370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5BBE7F-C507-4849-8469-C76666AF9B77}">
      <dsp:nvSpPr>
        <dsp:cNvPr id="0" name=""/>
        <dsp:cNvSpPr/>
      </dsp:nvSpPr>
      <dsp:spPr>
        <a:xfrm>
          <a:off x="7506518" y="3048993"/>
          <a:ext cx="186401" cy="13020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2072"/>
              </a:lnTo>
              <a:lnTo>
                <a:pt x="186401" y="1302072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6BD9E2-2AF3-5345-9DDB-9F69EE945456}">
      <dsp:nvSpPr>
        <dsp:cNvPr id="0" name=""/>
        <dsp:cNvSpPr/>
      </dsp:nvSpPr>
      <dsp:spPr>
        <a:xfrm>
          <a:off x="7506518" y="3048993"/>
          <a:ext cx="186401" cy="5119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1926"/>
              </a:lnTo>
              <a:lnTo>
                <a:pt x="186401" y="511926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18D4AC-8408-0B4F-81B1-57EBE6E14471}">
      <dsp:nvSpPr>
        <dsp:cNvPr id="0" name=""/>
        <dsp:cNvSpPr/>
      </dsp:nvSpPr>
      <dsp:spPr>
        <a:xfrm>
          <a:off x="5050822" y="2258846"/>
          <a:ext cx="2952767" cy="2337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6852"/>
              </a:lnTo>
              <a:lnTo>
                <a:pt x="2952767" y="116852"/>
              </a:lnTo>
              <a:lnTo>
                <a:pt x="2952767" y="23370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E69261-B1F3-E94F-B719-6BB569E0E72F}">
      <dsp:nvSpPr>
        <dsp:cNvPr id="0" name=""/>
        <dsp:cNvSpPr/>
      </dsp:nvSpPr>
      <dsp:spPr>
        <a:xfrm>
          <a:off x="5050822" y="2258846"/>
          <a:ext cx="1476383" cy="2337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6852"/>
              </a:lnTo>
              <a:lnTo>
                <a:pt x="1476383" y="116852"/>
              </a:lnTo>
              <a:lnTo>
                <a:pt x="1476383" y="23370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8AFE80-63D5-2F4D-9B31-D67919975158}">
      <dsp:nvSpPr>
        <dsp:cNvPr id="0" name=""/>
        <dsp:cNvSpPr/>
      </dsp:nvSpPr>
      <dsp:spPr>
        <a:xfrm>
          <a:off x="5005102" y="2258846"/>
          <a:ext cx="91440" cy="23370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70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80CB70-4F50-0746-8E8B-06965386AE63}">
      <dsp:nvSpPr>
        <dsp:cNvPr id="0" name=""/>
        <dsp:cNvSpPr/>
      </dsp:nvSpPr>
      <dsp:spPr>
        <a:xfrm>
          <a:off x="3574438" y="2258846"/>
          <a:ext cx="1476383" cy="233705"/>
        </a:xfrm>
        <a:custGeom>
          <a:avLst/>
          <a:gdLst/>
          <a:ahLst/>
          <a:cxnLst/>
          <a:rect l="0" t="0" r="0" b="0"/>
          <a:pathLst>
            <a:path>
              <a:moveTo>
                <a:pt x="1476383" y="0"/>
              </a:moveTo>
              <a:lnTo>
                <a:pt x="1476383" y="116852"/>
              </a:lnTo>
              <a:lnTo>
                <a:pt x="0" y="116852"/>
              </a:lnTo>
              <a:lnTo>
                <a:pt x="0" y="23370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A44923-1B51-EA4B-995A-EA30655E634F}">
      <dsp:nvSpPr>
        <dsp:cNvPr id="0" name=""/>
        <dsp:cNvSpPr/>
      </dsp:nvSpPr>
      <dsp:spPr>
        <a:xfrm>
          <a:off x="1600984" y="3048993"/>
          <a:ext cx="186401" cy="13020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2072"/>
              </a:lnTo>
              <a:lnTo>
                <a:pt x="186401" y="1302072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C342E-D36D-9946-92F4-6DB2776E5DD2}">
      <dsp:nvSpPr>
        <dsp:cNvPr id="0" name=""/>
        <dsp:cNvSpPr/>
      </dsp:nvSpPr>
      <dsp:spPr>
        <a:xfrm>
          <a:off x="1600984" y="3048993"/>
          <a:ext cx="186401" cy="5119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1926"/>
              </a:lnTo>
              <a:lnTo>
                <a:pt x="186401" y="511926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DBDF11-AA14-5D43-BB48-72173D8DC694}">
      <dsp:nvSpPr>
        <dsp:cNvPr id="0" name=""/>
        <dsp:cNvSpPr/>
      </dsp:nvSpPr>
      <dsp:spPr>
        <a:xfrm>
          <a:off x="2098055" y="2258846"/>
          <a:ext cx="2952767" cy="233705"/>
        </a:xfrm>
        <a:custGeom>
          <a:avLst/>
          <a:gdLst/>
          <a:ahLst/>
          <a:cxnLst/>
          <a:rect l="0" t="0" r="0" b="0"/>
          <a:pathLst>
            <a:path>
              <a:moveTo>
                <a:pt x="2952767" y="0"/>
              </a:moveTo>
              <a:lnTo>
                <a:pt x="2952767" y="116852"/>
              </a:lnTo>
              <a:lnTo>
                <a:pt x="0" y="116852"/>
              </a:lnTo>
              <a:lnTo>
                <a:pt x="0" y="23370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C12508-2F10-DC47-B606-DF9816231661}">
      <dsp:nvSpPr>
        <dsp:cNvPr id="0" name=""/>
        <dsp:cNvSpPr/>
      </dsp:nvSpPr>
      <dsp:spPr>
        <a:xfrm>
          <a:off x="621671" y="2258846"/>
          <a:ext cx="4429150" cy="233705"/>
        </a:xfrm>
        <a:custGeom>
          <a:avLst/>
          <a:gdLst/>
          <a:ahLst/>
          <a:cxnLst/>
          <a:rect l="0" t="0" r="0" b="0"/>
          <a:pathLst>
            <a:path>
              <a:moveTo>
                <a:pt x="4429150" y="0"/>
              </a:moveTo>
              <a:lnTo>
                <a:pt x="4429150" y="116852"/>
              </a:lnTo>
              <a:lnTo>
                <a:pt x="0" y="116852"/>
              </a:lnTo>
              <a:lnTo>
                <a:pt x="0" y="233705"/>
              </a:lnTo>
            </a:path>
          </a:pathLst>
        </a:custGeom>
        <a:noFill/>
        <a:ln w="38100" cap="flat" cmpd="sng" algn="ctr">
          <a:solidFill>
            <a:srgbClr val="DBD0B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8CCE05-E0A0-C144-A11E-615A0FC76509}">
      <dsp:nvSpPr>
        <dsp:cNvPr id="0" name=""/>
        <dsp:cNvSpPr/>
      </dsp:nvSpPr>
      <dsp:spPr>
        <a:xfrm>
          <a:off x="4309726" y="1647145"/>
          <a:ext cx="1482192" cy="611701"/>
        </a:xfrm>
        <a:prstGeom prst="rect">
          <a:avLst/>
        </a:prstGeom>
        <a:solidFill>
          <a:srgbClr val="001E6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44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4309726" y="1647145"/>
        <a:ext cx="1482192" cy="611701"/>
      </dsp:txXfrm>
    </dsp:sp>
    <dsp:sp modelId="{9E748DB3-6FA8-F247-AE7A-72990DE91228}">
      <dsp:nvSpPr>
        <dsp:cNvPr id="0" name=""/>
        <dsp:cNvSpPr/>
      </dsp:nvSpPr>
      <dsp:spPr>
        <a:xfrm>
          <a:off x="332" y="2492552"/>
          <a:ext cx="1242678" cy="556441"/>
        </a:xfrm>
        <a:prstGeom prst="rect">
          <a:avLst/>
        </a:prstGeom>
        <a:solidFill>
          <a:srgbClr val="A42C2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2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332" y="2492552"/>
        <a:ext cx="1242678" cy="556441"/>
      </dsp:txXfrm>
    </dsp:sp>
    <dsp:sp modelId="{513FBF3B-58A6-964A-B604-8C40C0753FA6}">
      <dsp:nvSpPr>
        <dsp:cNvPr id="0" name=""/>
        <dsp:cNvSpPr/>
      </dsp:nvSpPr>
      <dsp:spPr>
        <a:xfrm>
          <a:off x="1476716" y="2492552"/>
          <a:ext cx="1242678" cy="556441"/>
        </a:xfrm>
        <a:prstGeom prst="rect">
          <a:avLst/>
        </a:prstGeom>
        <a:solidFill>
          <a:srgbClr val="A42C2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2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1476716" y="2492552"/>
        <a:ext cx="1242678" cy="556441"/>
      </dsp:txXfrm>
    </dsp:sp>
    <dsp:sp modelId="{59BC45B9-F8EE-9640-A1FA-254805B9870A}">
      <dsp:nvSpPr>
        <dsp:cNvPr id="0" name=""/>
        <dsp:cNvSpPr/>
      </dsp:nvSpPr>
      <dsp:spPr>
        <a:xfrm>
          <a:off x="1787385" y="3282698"/>
          <a:ext cx="1274083" cy="556441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0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b="1" i="0" kern="120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787385" y="3282698"/>
        <a:ext cx="1274083" cy="556441"/>
      </dsp:txXfrm>
    </dsp:sp>
    <dsp:sp modelId="{229AD77C-86C3-8C47-936D-E022541781A3}">
      <dsp:nvSpPr>
        <dsp:cNvPr id="0" name=""/>
        <dsp:cNvSpPr/>
      </dsp:nvSpPr>
      <dsp:spPr>
        <a:xfrm>
          <a:off x="1787385" y="4072845"/>
          <a:ext cx="1274083" cy="556441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0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>
            <a:solidFill>
              <a:srgbClr val="001E60"/>
            </a:solidFill>
          </a:endParaRPr>
        </a:p>
      </dsp:txBody>
      <dsp:txXfrm>
        <a:off x="1787385" y="4072845"/>
        <a:ext cx="1274083" cy="556441"/>
      </dsp:txXfrm>
    </dsp:sp>
    <dsp:sp modelId="{5D6BCE1F-65F9-A047-BC2C-A11C0CFD7AF9}">
      <dsp:nvSpPr>
        <dsp:cNvPr id="0" name=""/>
        <dsp:cNvSpPr/>
      </dsp:nvSpPr>
      <dsp:spPr>
        <a:xfrm>
          <a:off x="2953099" y="2492552"/>
          <a:ext cx="1242678" cy="556441"/>
        </a:xfrm>
        <a:prstGeom prst="rect">
          <a:avLst/>
        </a:prstGeom>
        <a:solidFill>
          <a:srgbClr val="A42C2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2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2953099" y="2492552"/>
        <a:ext cx="1242678" cy="556441"/>
      </dsp:txXfrm>
    </dsp:sp>
    <dsp:sp modelId="{C1849C4C-18D4-BD4D-A37A-3C58EED3A1CA}">
      <dsp:nvSpPr>
        <dsp:cNvPr id="0" name=""/>
        <dsp:cNvSpPr/>
      </dsp:nvSpPr>
      <dsp:spPr>
        <a:xfrm>
          <a:off x="4429483" y="2492552"/>
          <a:ext cx="1242678" cy="556441"/>
        </a:xfrm>
        <a:prstGeom prst="rect">
          <a:avLst/>
        </a:prstGeom>
        <a:solidFill>
          <a:srgbClr val="A42C2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2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4429483" y="2492552"/>
        <a:ext cx="1242678" cy="556441"/>
      </dsp:txXfrm>
    </dsp:sp>
    <dsp:sp modelId="{D0141F9F-CD2A-8147-B934-DB354D9ED7CB}">
      <dsp:nvSpPr>
        <dsp:cNvPr id="0" name=""/>
        <dsp:cNvSpPr/>
      </dsp:nvSpPr>
      <dsp:spPr>
        <a:xfrm>
          <a:off x="5905866" y="2492552"/>
          <a:ext cx="1242678" cy="556441"/>
        </a:xfrm>
        <a:prstGeom prst="rect">
          <a:avLst/>
        </a:prstGeom>
        <a:solidFill>
          <a:srgbClr val="A42C2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2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5905866" y="2492552"/>
        <a:ext cx="1242678" cy="556441"/>
      </dsp:txXfrm>
    </dsp:sp>
    <dsp:sp modelId="{76E298FD-B13B-B04D-87F9-988ED059669B}">
      <dsp:nvSpPr>
        <dsp:cNvPr id="0" name=""/>
        <dsp:cNvSpPr/>
      </dsp:nvSpPr>
      <dsp:spPr>
        <a:xfrm>
          <a:off x="7382250" y="2492552"/>
          <a:ext cx="1242678" cy="556441"/>
        </a:xfrm>
        <a:prstGeom prst="rect">
          <a:avLst/>
        </a:prstGeom>
        <a:solidFill>
          <a:srgbClr val="A42C2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2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7382250" y="2492552"/>
        <a:ext cx="1242678" cy="556441"/>
      </dsp:txXfrm>
    </dsp:sp>
    <dsp:sp modelId="{8667DB7B-B743-5A4A-A4E9-08728C7A94BB}">
      <dsp:nvSpPr>
        <dsp:cNvPr id="0" name=""/>
        <dsp:cNvSpPr/>
      </dsp:nvSpPr>
      <dsp:spPr>
        <a:xfrm>
          <a:off x="7692919" y="3282698"/>
          <a:ext cx="1238271" cy="556441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0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b="1" i="0" kern="1200" dirty="0">
            <a:solidFill>
              <a:srgbClr val="001E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7692919" y="3282698"/>
        <a:ext cx="1238271" cy="556441"/>
      </dsp:txXfrm>
    </dsp:sp>
    <dsp:sp modelId="{A76A1AEC-724B-9044-9D7D-8AA126C2EDDF}">
      <dsp:nvSpPr>
        <dsp:cNvPr id="0" name=""/>
        <dsp:cNvSpPr/>
      </dsp:nvSpPr>
      <dsp:spPr>
        <a:xfrm>
          <a:off x="7692919" y="4072845"/>
          <a:ext cx="1238271" cy="556441"/>
        </a:xfrm>
        <a:prstGeom prst="rect">
          <a:avLst/>
        </a:prstGeom>
        <a:solidFill>
          <a:srgbClr val="9EDCE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20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>
            <a:solidFill>
              <a:srgbClr val="001E60"/>
            </a:solidFill>
          </a:endParaRPr>
        </a:p>
      </dsp:txBody>
      <dsp:txXfrm>
        <a:off x="7692919" y="4072845"/>
        <a:ext cx="1238271" cy="556441"/>
      </dsp:txXfrm>
    </dsp:sp>
    <dsp:sp modelId="{864108D1-1220-A64E-BDBB-2C96ABF60017}">
      <dsp:nvSpPr>
        <dsp:cNvPr id="0" name=""/>
        <dsp:cNvSpPr/>
      </dsp:nvSpPr>
      <dsp:spPr>
        <a:xfrm>
          <a:off x="8858633" y="2492552"/>
          <a:ext cx="1242678" cy="556441"/>
        </a:xfrm>
        <a:prstGeom prst="rect">
          <a:avLst/>
        </a:prstGeom>
        <a:solidFill>
          <a:srgbClr val="A42C2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ts val="1120"/>
            </a:lnSpc>
            <a:spcBef>
              <a:spcPct val="0"/>
            </a:spcBef>
            <a:spcAft>
              <a:spcPts val="0"/>
            </a:spcAft>
            <a:buNone/>
          </a:pPr>
          <a:endParaRPr lang="en-US" sz="1200" kern="1200" dirty="0"/>
        </a:p>
      </dsp:txBody>
      <dsp:txXfrm>
        <a:off x="8858633" y="2492552"/>
        <a:ext cx="1242678" cy="55644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89FEAC-4212-D44F-9896-4A0D510B376E}">
      <dsp:nvSpPr>
        <dsp:cNvPr id="0" name=""/>
        <dsp:cNvSpPr/>
      </dsp:nvSpPr>
      <dsp:spPr>
        <a:xfrm>
          <a:off x="323767" y="2154872"/>
          <a:ext cx="1657859" cy="5876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/>
            <a:t>Add an event</a:t>
          </a:r>
        </a:p>
      </dsp:txBody>
      <dsp:txXfrm>
        <a:off x="352456" y="2183561"/>
        <a:ext cx="1600481" cy="530314"/>
      </dsp:txXfrm>
    </dsp:sp>
    <dsp:sp modelId="{86986BCA-8EA6-AC48-A0C7-31A9FB01DDDC}">
      <dsp:nvSpPr>
        <dsp:cNvPr id="0" name=""/>
        <dsp:cNvSpPr/>
      </dsp:nvSpPr>
      <dsp:spPr>
        <a:xfrm>
          <a:off x="1405" y="0"/>
          <a:ext cx="2302583" cy="15671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1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rite a description of the significance of this event</a:t>
          </a:r>
        </a:p>
      </dsp:txBody>
      <dsp:txXfrm>
        <a:off x="1405" y="0"/>
        <a:ext cx="2302583" cy="1567180"/>
      </dsp:txXfrm>
    </dsp:sp>
    <dsp:sp modelId="{419F5C42-915E-1A4D-8A44-7A36C4E157B0}">
      <dsp:nvSpPr>
        <dsp:cNvPr id="0" name=""/>
        <dsp:cNvSpPr/>
      </dsp:nvSpPr>
      <dsp:spPr>
        <a:xfrm>
          <a:off x="1981627" y="2448718"/>
          <a:ext cx="64472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44723" y="0"/>
              </a:lnTo>
            </a:path>
          </a:pathLst>
        </a:custGeom>
        <a:noFill/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10056C-8641-B24B-B844-F7079A5FDA66}">
      <dsp:nvSpPr>
        <dsp:cNvPr id="0" name=""/>
        <dsp:cNvSpPr/>
      </dsp:nvSpPr>
      <dsp:spPr>
        <a:xfrm>
          <a:off x="1152697" y="1665128"/>
          <a:ext cx="0" cy="489743"/>
        </a:xfrm>
        <a:prstGeom prst="line">
          <a:avLst/>
        </a:prstGeom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729B38-C8B3-7B43-ABB7-71E8C1F1A74C}">
      <dsp:nvSpPr>
        <dsp:cNvPr id="0" name=""/>
        <dsp:cNvSpPr/>
      </dsp:nvSpPr>
      <dsp:spPr>
        <a:xfrm>
          <a:off x="2626350" y="2154872"/>
          <a:ext cx="1657859" cy="5876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/>
            <a:t>Add an event</a:t>
          </a:r>
        </a:p>
      </dsp:txBody>
      <dsp:txXfrm>
        <a:off x="2655039" y="2183561"/>
        <a:ext cx="1600481" cy="530314"/>
      </dsp:txXfrm>
    </dsp:sp>
    <dsp:sp modelId="{5C45901F-97A8-594D-AC59-39599806A4CE}">
      <dsp:nvSpPr>
        <dsp:cNvPr id="0" name=""/>
        <dsp:cNvSpPr/>
      </dsp:nvSpPr>
      <dsp:spPr>
        <a:xfrm>
          <a:off x="2303988" y="3330257"/>
          <a:ext cx="2302583" cy="15671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Write a description of the significance of this event</a:t>
          </a:r>
        </a:p>
      </dsp:txBody>
      <dsp:txXfrm>
        <a:off x="2303988" y="3330257"/>
        <a:ext cx="2302583" cy="1567180"/>
      </dsp:txXfrm>
    </dsp:sp>
    <dsp:sp modelId="{3C640760-C446-D74B-A94B-D1DA8F76C0C4}">
      <dsp:nvSpPr>
        <dsp:cNvPr id="0" name=""/>
        <dsp:cNvSpPr/>
      </dsp:nvSpPr>
      <dsp:spPr>
        <a:xfrm>
          <a:off x="4284210" y="2448718"/>
          <a:ext cx="64472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44723" y="0"/>
              </a:lnTo>
            </a:path>
          </a:pathLst>
        </a:custGeom>
        <a:noFill/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3C85FD-E68F-7F46-A400-7A6E57E12EF3}">
      <dsp:nvSpPr>
        <dsp:cNvPr id="0" name=""/>
        <dsp:cNvSpPr/>
      </dsp:nvSpPr>
      <dsp:spPr>
        <a:xfrm>
          <a:off x="3455280" y="2742565"/>
          <a:ext cx="0" cy="489743"/>
        </a:xfrm>
        <a:prstGeom prst="line">
          <a:avLst/>
        </a:prstGeom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5A7491-D524-A948-B3BF-64B5D652CD7C}">
      <dsp:nvSpPr>
        <dsp:cNvPr id="0" name=""/>
        <dsp:cNvSpPr/>
      </dsp:nvSpPr>
      <dsp:spPr>
        <a:xfrm>
          <a:off x="4928933" y="2154872"/>
          <a:ext cx="1657859" cy="5876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/>
            <a:t>Add an event</a:t>
          </a:r>
        </a:p>
      </dsp:txBody>
      <dsp:txXfrm>
        <a:off x="4957622" y="2183561"/>
        <a:ext cx="1600481" cy="530314"/>
      </dsp:txXfrm>
    </dsp:sp>
    <dsp:sp modelId="{F9D412D8-C566-0543-9C5C-B4F45FECCF6F}">
      <dsp:nvSpPr>
        <dsp:cNvPr id="0" name=""/>
        <dsp:cNvSpPr/>
      </dsp:nvSpPr>
      <dsp:spPr>
        <a:xfrm>
          <a:off x="4606571" y="0"/>
          <a:ext cx="2302583" cy="15671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1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Write a description of the significance of this event</a:t>
          </a:r>
        </a:p>
      </dsp:txBody>
      <dsp:txXfrm>
        <a:off x="4606571" y="0"/>
        <a:ext cx="2302583" cy="1567180"/>
      </dsp:txXfrm>
    </dsp:sp>
    <dsp:sp modelId="{04C5DB94-88A5-544B-8C0F-D63382005DE7}">
      <dsp:nvSpPr>
        <dsp:cNvPr id="0" name=""/>
        <dsp:cNvSpPr/>
      </dsp:nvSpPr>
      <dsp:spPr>
        <a:xfrm>
          <a:off x="6586793" y="2448718"/>
          <a:ext cx="64472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44723" y="0"/>
              </a:lnTo>
            </a:path>
          </a:pathLst>
        </a:custGeom>
        <a:noFill/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31C512-718F-A04F-BEB7-7EADBC96DEE2}">
      <dsp:nvSpPr>
        <dsp:cNvPr id="0" name=""/>
        <dsp:cNvSpPr/>
      </dsp:nvSpPr>
      <dsp:spPr>
        <a:xfrm>
          <a:off x="5757863" y="1665128"/>
          <a:ext cx="0" cy="489743"/>
        </a:xfrm>
        <a:prstGeom prst="line">
          <a:avLst/>
        </a:prstGeom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436300-1052-4F4B-A188-5948C5ABBE6F}">
      <dsp:nvSpPr>
        <dsp:cNvPr id="0" name=""/>
        <dsp:cNvSpPr/>
      </dsp:nvSpPr>
      <dsp:spPr>
        <a:xfrm>
          <a:off x="7231516" y="2154872"/>
          <a:ext cx="1657859" cy="5876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/>
            <a:t>Add an event</a:t>
          </a:r>
        </a:p>
      </dsp:txBody>
      <dsp:txXfrm>
        <a:off x="7260205" y="2183561"/>
        <a:ext cx="1600481" cy="530314"/>
      </dsp:txXfrm>
    </dsp:sp>
    <dsp:sp modelId="{FDD3045C-88AD-614F-B1E2-DF0EF9BCB169}">
      <dsp:nvSpPr>
        <dsp:cNvPr id="0" name=""/>
        <dsp:cNvSpPr/>
      </dsp:nvSpPr>
      <dsp:spPr>
        <a:xfrm>
          <a:off x="6909155" y="3330257"/>
          <a:ext cx="2302583" cy="15671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Write a description of the significance of this event</a:t>
          </a:r>
        </a:p>
      </dsp:txBody>
      <dsp:txXfrm>
        <a:off x="6909155" y="3330257"/>
        <a:ext cx="2302583" cy="1567180"/>
      </dsp:txXfrm>
    </dsp:sp>
    <dsp:sp modelId="{AC409AE6-7130-E349-BD27-14C3C8242F33}">
      <dsp:nvSpPr>
        <dsp:cNvPr id="0" name=""/>
        <dsp:cNvSpPr/>
      </dsp:nvSpPr>
      <dsp:spPr>
        <a:xfrm>
          <a:off x="8889376" y="2448718"/>
          <a:ext cx="64472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44723" y="0"/>
              </a:lnTo>
            </a:path>
          </a:pathLst>
        </a:custGeom>
        <a:noFill/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34AB7B-41A6-1C4B-99B4-FEB822578818}">
      <dsp:nvSpPr>
        <dsp:cNvPr id="0" name=""/>
        <dsp:cNvSpPr/>
      </dsp:nvSpPr>
      <dsp:spPr>
        <a:xfrm>
          <a:off x="8060446" y="2742565"/>
          <a:ext cx="0" cy="489743"/>
        </a:xfrm>
        <a:prstGeom prst="line">
          <a:avLst/>
        </a:prstGeom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480CEA-BEB5-0440-87DB-D5845F2CEFA4}">
      <dsp:nvSpPr>
        <dsp:cNvPr id="0" name=""/>
        <dsp:cNvSpPr/>
      </dsp:nvSpPr>
      <dsp:spPr>
        <a:xfrm>
          <a:off x="9534099" y="2154872"/>
          <a:ext cx="1657859" cy="5876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600" kern="1200"/>
            <a:t>Add an event</a:t>
          </a:r>
        </a:p>
      </dsp:txBody>
      <dsp:txXfrm>
        <a:off x="9562788" y="2183561"/>
        <a:ext cx="1600481" cy="530314"/>
      </dsp:txXfrm>
    </dsp:sp>
    <dsp:sp modelId="{76B479C2-19B8-504E-81B2-AD8BA31CE0DF}">
      <dsp:nvSpPr>
        <dsp:cNvPr id="0" name=""/>
        <dsp:cNvSpPr/>
      </dsp:nvSpPr>
      <dsp:spPr>
        <a:xfrm>
          <a:off x="9211738" y="0"/>
          <a:ext cx="2302583" cy="15671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1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Write a description of the significance of this event</a:t>
          </a:r>
        </a:p>
      </dsp:txBody>
      <dsp:txXfrm>
        <a:off x="9211738" y="0"/>
        <a:ext cx="2302583" cy="1567180"/>
      </dsp:txXfrm>
    </dsp:sp>
    <dsp:sp modelId="{DC086E51-9B2D-824E-87E7-684E4FDBC10B}">
      <dsp:nvSpPr>
        <dsp:cNvPr id="0" name=""/>
        <dsp:cNvSpPr/>
      </dsp:nvSpPr>
      <dsp:spPr>
        <a:xfrm>
          <a:off x="10363029" y="1665128"/>
          <a:ext cx="0" cy="489743"/>
        </a:xfrm>
        <a:prstGeom prst="line">
          <a:avLst/>
        </a:prstGeom>
        <a:noFill/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24/3/layout/BlockTimeline">
  <dgm:title val="Block Timeline"/>
  <dgm:desc val="Displays events in chronological order. Each event should have a date of name up to medium length and the option to add a description that can be medium or a bit longer in length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animLvl val="lvl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1" val="16"/>
      <dgm:constr type="primFontSz" for="des" forName="Childtext1" val="14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w" for="ch" forName="spaceBetweenRectangles" refType="w" fact="0"/>
      <dgm:constr type="h" for="ch" forName="spaceBetweenRectangles" refType="h" fact="0"/>
      <dgm:constr type="primFontSz" for="des" forName="Parent1" op="equ"/>
      <dgm:constr type="primFontSz" for="des" forName="Childtext1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casesForSnakingLogic">
          <dgm:if name="Name7" axis="self" ptType="node" func="posOdd" op="equ" val="1">
            <dgm:constrLst>
              <dgm:constr type="w" for="ch" forName="Parent1" refType="w" fact="0.72"/>
              <dgm:constr type="ctrY" for="ch" forName="Parent1" refType="h" fact="0.5"/>
              <dgm:constr type="h" for="ch" forName="Parent1" refType="h" fact="0.12"/>
              <dgm:constr type="l" for="ch" forName="Parent1" refType="w" fact="0.14"/>
              <dgm:constr type="w" for="ch" forName="Childtext1" refType="w"/>
              <dgm:constr type="h" for="ch" forName="Childtext1" refType="h" fact="0.32"/>
              <dgm:constr type="t" for="ch" forName="Childtext1" refType="h" fact="0"/>
              <dgm:constr type="w" for="ch" forName="ConnectLine"/>
              <dgm:constr type="h" for="ch" forName="ConnectLine" refType="h" fact="0.1"/>
              <dgm:constr type="b" for="ch" forName="ConnectLine" refType="t" refFor="ch" refForName="Parent1"/>
              <dgm:constr type="ctrX" for="ch" forName="ConnectLine" refType="w" fact="0.5"/>
              <dgm:constr type="w" for="ch" forName="EmptyPane" refType="w"/>
              <dgm:constr type="b" for="ch" forName="EmptyPane" refType="h"/>
              <dgm:constr type="h" for="ch" forName="EmptyPane" refType="h" fact="0.44"/>
            </dgm:constrLst>
          </dgm:if>
          <dgm:else name="Name8">
            <dgm:constrLst>
              <dgm:constr type="w" for="ch" forName="Parent1" refType="w" fact="0.72"/>
              <dgm:constr type="ctrY" for="ch" forName="Parent1" refType="h" fact="0.5"/>
              <dgm:constr type="h" for="ch" forName="Parent1" refType="h" fact="0.12"/>
              <dgm:constr type="l" for="ch" forName="Parent1" refType="w" fact="0.14"/>
              <dgm:constr type="w" for="ch" forName="Childtext1" refType="w"/>
              <dgm:constr type="h" for="ch" forName="Childtext1" refType="h" fact="0.32"/>
              <dgm:constr type="b" for="ch" forName="Childtext1" refType="h"/>
              <dgm:constr type="w" for="ch" forName="ConnectLine"/>
              <dgm:constr type="h" for="ch" forName="ConnectLine" refType="h" fact="0.1"/>
              <dgm:constr type="t" for="ch" forName="ConnectLine" refType="b" refFor="ch" refForName="Parent1"/>
              <dgm:constr type="ctrX" for="ch" forName="ConnectLine" refType="w" fact="0.5"/>
              <dgm:constr type="w" for="ch" forName="EmptyPane" refType="w"/>
              <dgm:constr type="h" for="ch" forName="EmptyPane" refType="h" fact="0.44"/>
            </dgm:constrLst>
          </dgm:else>
        </dgm:choose>
        <dgm:layoutNode name="Parent1" styleLbl="alignNode1">
          <dgm:varLst>
            <dgm:chMax val="1"/>
            <dgm:chPref val="1"/>
            <dgm:bulletEnabled val="1"/>
          </dgm:varLst>
          <dgm:alg type="tx"/>
          <dgm:choose name="casesForFirstAndLastNode">
            <dgm:if name="startNode" axis="self" ptType="node" func="pos" op="equ" val="1">
              <dgm:choose name="removeLineWhenOnlyOneNode">
                <dgm:if name="ifOnlyOneNode" axis="followSib" ptType="node" func="cnt" op="equ" val="0">
                  <dgm:shape xmlns:r="http://schemas.openxmlformats.org/officeDocument/2006/relationships" type="rect" r:blip="">
                    <dgm:adjLst/>
                  </dgm:shape>
                </dgm:if>
                <dgm:else name="ifMoreThanOneNode">
                  <dgm:choose name="Name18">
                    <dgm:if name="Name19" func="var" arg="dir" op="equ" val="norm">
                      <dgm:shape xmlns:r="http://schemas.openxmlformats.org/officeDocument/2006/relationships" type="roundRect" r:blip="">
                        <dgm:adjLst/>
                      </dgm:shape>
                    </dgm:if>
                    <dgm:else name="Name20">
                      <dgm:shape xmlns:r="http://schemas.openxmlformats.org/officeDocument/2006/relationships" type="roundRect" r:blip="">
                        <dgm:adjLst/>
                      </dgm:shape>
                    </dgm:else>
                  </dgm:choose>
                </dgm:else>
              </dgm:choose>
            </dgm:if>
            <dgm:else name="notStartNode">
              <dgm:choose name="Name22">
                <dgm:if name="Name23" axis="self" ptType="node" func="revPos" op="equ" val="1">
                  <dgm:choose name="Name24">
                    <dgm:if name="Name25" func="var" arg="dir" op="equ" val="norm">
                      <dgm:shape xmlns:r="http://schemas.openxmlformats.org/officeDocument/2006/relationships" type="roundRect" r:blip="">
                        <dgm:adjLst/>
                      </dgm:shape>
                    </dgm:if>
                    <dgm:else name="Name26">
                      <dgm:shape xmlns:r="http://schemas.openxmlformats.org/officeDocument/2006/relationships" type="roundRect" r:blip="">
                        <dgm:adjLst/>
                      </dgm:shape>
                    </dgm:else>
                  </dgm:choose>
                </dgm:if>
                <dgm:else name="Name27">
                  <dgm:shape xmlns:r="http://schemas.openxmlformats.org/officeDocument/2006/relationships" type="roundRect" r:blip="">
                    <dgm:adjLst/>
                  </dgm:shape>
                </dgm:else>
              </dgm:choose>
            </dgm:else>
          </dgm:choose>
          <dgm:presOf axis="self" ptType="node"/>
          <dgm:constrLst>
            <dgm:constr type="lMarg" refType="primFontSz" fact="0.6"/>
            <dgm:constr type="rMarg" refType="primFontSz" fact="0.6"/>
            <dgm:constr type="tMarg" refType="primFontSz" fact="0.6"/>
            <dgm:constr type="bMarg" refType="primFontSz" fact="0.6"/>
          </dgm:constrLst>
          <dgm:ruleLst>
            <dgm:rule type="primFontSz" val="16" fact="NaN" max="NaN"/>
          </dgm:ruleLst>
        </dgm:layoutNode>
        <dgm:layoutNode name="Childtext1" styleLbl="revTx" moveWith="Parent1">
          <dgm:varLst>
            <dgm:chMax val="0"/>
            <dgm:chPref val="0"/>
            <dgm:bulletEnabled/>
          </dgm:varLst>
          <dgm:choose name="casesForTxtDirLogic1">
            <dgm:if name="Name77" axis="self" ptType="node" func="posOdd" op="equ" val="1">
              <dgm:alg type="tx">
                <dgm:param type="txAnchorVert" val="b"/>
                <dgm:param type="txAnchorHorz" val="ctr"/>
                <dgm:param type="parTxRTLAlign" val="ctr"/>
                <dgm:param type="parTxLTRAlign" val="ctr"/>
              </dgm:alg>
            </dgm:if>
            <dgm:else name="Name88">
              <dgm:alg type="tx">
                <dgm:param type="txAnchorVert" val="t"/>
                <dgm:param type="txAnchorHorz" val="ctr"/>
                <dgm:param type="parTxRTLAlign" val="ctr"/>
                <dgm:param type="parTxLTRAlign" val="ctr"/>
              </dgm:alg>
            </dgm:else>
          </dgm:choose>
          <dgm:shape xmlns:r="http://schemas.openxmlformats.org/officeDocument/2006/relationships" type="rect" r:blip="">
            <dgm:adjLst/>
          </dgm:shape>
          <dgm:constrLst>
            <dgm:constr type="lMarg"/>
            <dgm:constr type="rMarg"/>
            <dgm:constr type="tMarg" refType="primFontSz" fact="0"/>
            <dgm:constr type="bMarg" refType="primFontSz" fact="0"/>
          </dgm:constrLst>
          <dgm:presOf axis="ch" ptType="node"/>
          <dgm:ruleLst>
            <dgm:rule type="primFontSz" val="14" fact="NaN" max="NaN"/>
          </dgm:ruleLst>
        </dgm:layoutNode>
        <dgm:layoutNode name="ConnectLine" styleLbl="sibTrans1D1" moveWith="Parent1">
          <dgm:alg type="sp"/>
          <dgm:shape xmlns:r="http://schemas.openxmlformats.org/officeDocument/2006/relationships" type="line" r:blip="">
            <dgm:adjLst/>
            <dgm:extLst>
              <a:ext uri="{B698B0E9-8C71-41B9-8309-B3DCBF30829C}">
                <dgm1612:spPr xmlns:dgm1612="http://schemas.microsoft.com/office/drawing/2016/12/diagram">
                  <a:ln w="9525"/>
                </dgm1612:spPr>
              </a:ext>
            </dgm:extLst>
          </dgm:shape>
          <dgm:presOf/>
          <dgm:constrLst/>
        </dgm:layoutNode>
        <dgm:layoutNode name="EmptyPane" moveWith="Parent1">
          <dgm:alg type="sp"/>
          <dgm:shape xmlns:r="http://schemas.openxmlformats.org/officeDocument/2006/relationships" r:blip="">
            <dgm:adjLst/>
          </dgm:shape>
          <dgm:presOf/>
          <dgm:constrLst/>
        </dgm:layoutNode>
      </dgm:layoutNode>
      <dgm:forEach name="Name28" axis="followSib" ptType="sibTrans" cnt="1">
        <dgm:layoutNode name="spaceBetweenRectangles" styleLbl="fgAcc1">
          <dgm:alg type="conn">
            <dgm:param type="dim" val="1D"/>
            <dgm:param type="srcNode" val="Parent1"/>
            <dgm:param type="dstNode" val="Parent1"/>
            <dgm:param type="begPts" val="midR"/>
            <dgm:param type="endPts" val="midL"/>
            <dgm:param type="endSty" val="noArr"/>
          </dgm:alg>
          <dgm:shape xmlns:r="http://schemas.openxmlformats.org/officeDocument/2006/relationships" type="conn" r:blip="" zOrderOff="-2">
            <dgm:adjLst/>
            <dgm:extLst>
              <a:ext uri="{B698B0E9-8C71-41B9-8309-B3DCBF30829C}">
                <dgm1612:spPr xmlns:dgm1612="http://schemas.microsoft.com/office/drawing/2016/12/diagram">
                  <a:ln w="12700"/>
                </dgm1612:spPr>
              </a:ext>
            </dgm:extLst>
          </dgm:shape>
          <dgm:presOf/>
          <dgm:constrLst>
            <dgm:constr type="connDist"/>
            <dgm:constr type="begPad"/>
            <dgm:constr type="endPad"/>
          </dgm:constrLst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3AA27DF-86EE-D623-4455-CF3ADFD30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3B28B3-2CA8-9045-6822-62CBA662D25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CBAADF-E2DB-C244-8E44-DEB4E0B2E19A}" type="datetimeFigureOut">
              <a:rPr lang="en-US" smtClean="0"/>
              <a:t>2/3/20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97D6EA-E95B-5320-3828-5D738A0FD2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B9DC-44C1-4728-F2A5-6B91924F437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FD8F45-0163-F547-9E8C-61158049FE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2868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88C54-E707-7648-A742-985637C58877}" type="datetimeFigureOut">
              <a:rPr lang="en-US" smtClean="0"/>
              <a:t>2/3/202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1DC679-DDC0-9346-84BC-CBAD84E2C98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254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ort with many containers&#10;&#10;AI-generated content may be incorrect.">
            <a:extLst>
              <a:ext uri="{FF2B5EF4-FFF2-40B4-BE49-F238E27FC236}">
                <a16:creationId xmlns:a16="http://schemas.microsoft.com/office/drawing/2014/main" id="{1F8AF41C-3352-AA48-F8FC-3CD17EE206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: Top Corners Rounded 3">
            <a:extLst>
              <a:ext uri="{FF2B5EF4-FFF2-40B4-BE49-F238E27FC236}">
                <a16:creationId xmlns:a16="http://schemas.microsoft.com/office/drawing/2014/main" id="{DB30177A-2809-CE03-6674-C6E4B4DBF505}"/>
              </a:ext>
            </a:extLst>
          </p:cNvPr>
          <p:cNvSpPr/>
          <p:nvPr userDrawn="1"/>
        </p:nvSpPr>
        <p:spPr>
          <a:xfrm>
            <a:off x="1" y="-1"/>
            <a:ext cx="12191999" cy="6237923"/>
          </a:xfrm>
          <a:prstGeom prst="round2SameRect">
            <a:avLst>
              <a:gd name="adj1" fmla="val 0"/>
              <a:gd name="adj2" fmla="val 9744"/>
            </a:avLst>
          </a:prstGeom>
          <a:gradFill flip="none" rotWithShape="1">
            <a:gsLst>
              <a:gs pos="0">
                <a:schemeClr val="accent1">
                  <a:alpha val="38000"/>
                </a:schemeClr>
              </a:gs>
              <a:gs pos="100000">
                <a:schemeClr val="accent1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F0BEBD5-95A4-4D5C-956E-FE1C107660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5835" y="4262765"/>
            <a:ext cx="5700330" cy="615553"/>
          </a:xfrm>
        </p:spPr>
        <p:txBody>
          <a:bodyPr lIns="0" tIns="0" rIns="0" bIns="0" anchor="b">
            <a:noAutofit/>
          </a:bodyPr>
          <a:lstStyle>
            <a:lvl1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ADD TEX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D378C1D-837E-5B16-03B8-7882534680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45835" y="4998248"/>
            <a:ext cx="5700330" cy="485197"/>
          </a:xfrm>
        </p:spPr>
        <p:txBody>
          <a:bodyPr lIns="0" tIns="0" rIns="0" bIns="0" anchor="t">
            <a:noAutofit/>
          </a:bodyPr>
          <a:lstStyle>
            <a:lvl1pPr marL="12699" indent="0" algn="ctr" defTabSz="914400" rtl="0" eaLnBrk="0" fontAlgn="base" latinLnBrk="0" hangingPunct="0">
              <a:lnSpc>
                <a:spcPts val="416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2731661" algn="l"/>
              </a:tabLst>
              <a:defRPr lang="en-GB" sz="2400" kern="1200" spc="250" baseline="0" dirty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C72ACB54-EBDC-7EC1-5C17-77E23345B4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6032" y="1859752"/>
            <a:ext cx="3429875" cy="202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6698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6" name="Picture 5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EF606ED4-7C1E-C251-E717-F01607CB1F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3ECAEEAB-F721-A35B-45AD-612875CA3C15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763153605"/>
              </p:ext>
            </p:extLst>
          </p:nvPr>
        </p:nvGraphicFramePr>
        <p:xfrm>
          <a:off x="2025371" y="1136995"/>
          <a:ext cx="6898244" cy="5369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 Placeholder 39">
            <a:extLst>
              <a:ext uri="{FF2B5EF4-FFF2-40B4-BE49-F238E27FC236}">
                <a16:creationId xmlns:a16="http://schemas.microsoft.com/office/drawing/2014/main" id="{C3732C6A-27AE-6F1B-EA40-D82D7940A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60219" y="3398521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" name="Text Placeholder 39">
            <a:extLst>
              <a:ext uri="{FF2B5EF4-FFF2-40B4-BE49-F238E27FC236}">
                <a16:creationId xmlns:a16="http://schemas.microsoft.com/office/drawing/2014/main" id="{E1FBBD6F-4020-3F14-3AE3-9C8C5A8682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1162" y="1163321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Text Placeholder 39">
            <a:extLst>
              <a:ext uri="{FF2B5EF4-FFF2-40B4-BE49-F238E27FC236}">
                <a16:creationId xmlns:a16="http://schemas.microsoft.com/office/drawing/2014/main" id="{2A80BA1E-1B6F-D6FB-E636-B35FDDEB8B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31162" y="1914236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9" name="Text Placeholder 39">
            <a:extLst>
              <a:ext uri="{FF2B5EF4-FFF2-40B4-BE49-F238E27FC236}">
                <a16:creationId xmlns:a16="http://schemas.microsoft.com/office/drawing/2014/main" id="{C35DA606-4CFA-A41F-484A-E9EABA48BF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1162" y="2644831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39">
            <a:extLst>
              <a:ext uri="{FF2B5EF4-FFF2-40B4-BE49-F238E27FC236}">
                <a16:creationId xmlns:a16="http://schemas.microsoft.com/office/drawing/2014/main" id="{08C50B4E-3DDB-EA54-B2E0-2DC9AEA245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1162" y="3395746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39">
            <a:extLst>
              <a:ext uri="{FF2B5EF4-FFF2-40B4-BE49-F238E27FC236}">
                <a16:creationId xmlns:a16="http://schemas.microsoft.com/office/drawing/2014/main" id="{DC9F01E1-B91B-C479-86EA-2B1D144719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31162" y="4136501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39">
            <a:extLst>
              <a:ext uri="{FF2B5EF4-FFF2-40B4-BE49-F238E27FC236}">
                <a16:creationId xmlns:a16="http://schemas.microsoft.com/office/drawing/2014/main" id="{5C5839B7-A849-F718-C3CD-F5B31642E5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31162" y="4887416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39">
            <a:extLst>
              <a:ext uri="{FF2B5EF4-FFF2-40B4-BE49-F238E27FC236}">
                <a16:creationId xmlns:a16="http://schemas.microsoft.com/office/drawing/2014/main" id="{68751160-06F4-E762-4D4A-6DF4E08E41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1162" y="5638331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39">
            <a:extLst>
              <a:ext uri="{FF2B5EF4-FFF2-40B4-BE49-F238E27FC236}">
                <a16:creationId xmlns:a16="http://schemas.microsoft.com/office/drawing/2014/main" id="{48223AC0-7588-1F47-E3CB-9B0BD2AE75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13962" y="2275371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39">
            <a:extLst>
              <a:ext uri="{FF2B5EF4-FFF2-40B4-BE49-F238E27FC236}">
                <a16:creationId xmlns:a16="http://schemas.microsoft.com/office/drawing/2014/main" id="{64735820-9209-F5B2-BCA2-EB14D926AF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13962" y="3026286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7" name="Text Placeholder 39">
            <a:extLst>
              <a:ext uri="{FF2B5EF4-FFF2-40B4-BE49-F238E27FC236}">
                <a16:creationId xmlns:a16="http://schemas.microsoft.com/office/drawing/2014/main" id="{DD099532-8FE6-88CA-A395-9F95F37D9C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13962" y="5258725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8" name="Text Placeholder 39">
            <a:extLst>
              <a:ext uri="{FF2B5EF4-FFF2-40B4-BE49-F238E27FC236}">
                <a16:creationId xmlns:a16="http://schemas.microsoft.com/office/drawing/2014/main" id="{A217D325-7555-457C-330D-6F5C8DBE887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13962" y="6009640"/>
            <a:ext cx="1686662" cy="47244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506809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6" name="Picture 5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EF606ED4-7C1E-C251-E717-F01607CB1F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graphicFrame>
        <p:nvGraphicFramePr>
          <p:cNvPr id="20" name="Diagram 19">
            <a:extLst>
              <a:ext uri="{FF2B5EF4-FFF2-40B4-BE49-F238E27FC236}">
                <a16:creationId xmlns:a16="http://schemas.microsoft.com/office/drawing/2014/main" id="{DF2303D9-9B71-753F-DE70-1BC5D1F0007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8353451"/>
              </p:ext>
            </p:extLst>
          </p:nvPr>
        </p:nvGraphicFramePr>
        <p:xfrm>
          <a:off x="911475" y="581568"/>
          <a:ext cx="10101645" cy="6276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 Placeholder 39">
            <a:extLst>
              <a:ext uri="{FF2B5EF4-FFF2-40B4-BE49-F238E27FC236}">
                <a16:creationId xmlns:a16="http://schemas.microsoft.com/office/drawing/2014/main" id="{E1FBBD6F-4020-3F14-3AE3-9C8C5A8682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24072" y="2230942"/>
            <a:ext cx="1461541" cy="599632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39">
            <a:extLst>
              <a:ext uri="{FF2B5EF4-FFF2-40B4-BE49-F238E27FC236}">
                <a16:creationId xmlns:a16="http://schemas.microsoft.com/office/drawing/2014/main" id="{097E67D7-4A37-0CB5-AD80-D9E36C9A3C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3247" y="3087494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2" name="Text Placeholder 39">
            <a:extLst>
              <a:ext uri="{FF2B5EF4-FFF2-40B4-BE49-F238E27FC236}">
                <a16:creationId xmlns:a16="http://schemas.microsoft.com/office/drawing/2014/main" id="{03906D02-2C8B-4CC0-4B88-C027080633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13704" y="3099984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39">
            <a:extLst>
              <a:ext uri="{FF2B5EF4-FFF2-40B4-BE49-F238E27FC236}">
                <a16:creationId xmlns:a16="http://schemas.microsoft.com/office/drawing/2014/main" id="{68CBF208-318F-700A-8C90-2E12F44713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2549" y="3098380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4" name="Text Placeholder 39">
            <a:extLst>
              <a:ext uri="{FF2B5EF4-FFF2-40B4-BE49-F238E27FC236}">
                <a16:creationId xmlns:a16="http://schemas.microsoft.com/office/drawing/2014/main" id="{8E7DB2E8-B7BD-E481-59D3-4F04F9875A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73006" y="3099984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5" name="Text Placeholder 39">
            <a:extLst>
              <a:ext uri="{FF2B5EF4-FFF2-40B4-BE49-F238E27FC236}">
                <a16:creationId xmlns:a16="http://schemas.microsoft.com/office/drawing/2014/main" id="{8788A266-24F4-43D7-3C3B-E65471497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1851" y="3104242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39">
            <a:extLst>
              <a:ext uri="{FF2B5EF4-FFF2-40B4-BE49-F238E27FC236}">
                <a16:creationId xmlns:a16="http://schemas.microsoft.com/office/drawing/2014/main" id="{6D332387-524C-AE6D-F591-01BA992315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32308" y="3105846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39">
            <a:extLst>
              <a:ext uri="{FF2B5EF4-FFF2-40B4-BE49-F238E27FC236}">
                <a16:creationId xmlns:a16="http://schemas.microsoft.com/office/drawing/2014/main" id="{F6D9119C-3424-86EA-5716-00434A39542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89182" y="3105846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39">
            <a:extLst>
              <a:ext uri="{FF2B5EF4-FFF2-40B4-BE49-F238E27FC236}">
                <a16:creationId xmlns:a16="http://schemas.microsoft.com/office/drawing/2014/main" id="{F044E85F-E3EA-3B32-F393-5A9A55FD28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5295" y="3891951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39">
            <a:extLst>
              <a:ext uri="{FF2B5EF4-FFF2-40B4-BE49-F238E27FC236}">
                <a16:creationId xmlns:a16="http://schemas.microsoft.com/office/drawing/2014/main" id="{1F0A5011-8D57-995F-E469-09242E55A6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35295" y="4667170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1" name="Text Placeholder 39">
            <a:extLst>
              <a:ext uri="{FF2B5EF4-FFF2-40B4-BE49-F238E27FC236}">
                <a16:creationId xmlns:a16="http://schemas.microsoft.com/office/drawing/2014/main" id="{A4DF2043-E5B4-B896-26BB-CE9D8C89AB7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746626" y="3891951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Text Placeholder 39">
            <a:extLst>
              <a:ext uri="{FF2B5EF4-FFF2-40B4-BE49-F238E27FC236}">
                <a16:creationId xmlns:a16="http://schemas.microsoft.com/office/drawing/2014/main" id="{DEC9C85F-0C2F-D988-3E3D-9BA073CE6D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6626" y="4667170"/>
            <a:ext cx="1200353" cy="515677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en-GB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0968278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3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5">
            <a:extLst>
              <a:ext uri="{FF2B5EF4-FFF2-40B4-BE49-F238E27FC236}">
                <a16:creationId xmlns:a16="http://schemas.microsoft.com/office/drawing/2014/main" id="{547EA0E7-81D4-1DD3-719C-502BD8D85DBE}"/>
              </a:ext>
            </a:extLst>
          </p:cNvPr>
          <p:cNvSpPr>
            <a:spLocks/>
          </p:cNvSpPr>
          <p:nvPr userDrawn="1"/>
        </p:nvSpPr>
        <p:spPr>
          <a:xfrm>
            <a:off x="4504409" y="1706606"/>
            <a:ext cx="3183182" cy="44474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50800" dir="3420000" algn="ctr" rotWithShape="0">
              <a:srgbClr val="000000">
                <a:alpha val="17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11" name="Rectangle: Rounded Corners 5">
            <a:extLst>
              <a:ext uri="{FF2B5EF4-FFF2-40B4-BE49-F238E27FC236}">
                <a16:creationId xmlns:a16="http://schemas.microsoft.com/office/drawing/2014/main" id="{6AC2BA5E-F7B0-A4C8-5936-768B0E4C435A}"/>
              </a:ext>
            </a:extLst>
          </p:cNvPr>
          <p:cNvSpPr/>
          <p:nvPr userDrawn="1"/>
        </p:nvSpPr>
        <p:spPr>
          <a:xfrm>
            <a:off x="8069480" y="1704811"/>
            <a:ext cx="3183182" cy="44474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50800" dir="3420000" algn="ctr" rotWithShape="0">
              <a:srgbClr val="000000">
                <a:alpha val="19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13" name="Rectangle: Rounded Corners 5">
            <a:extLst>
              <a:ext uri="{FF2B5EF4-FFF2-40B4-BE49-F238E27FC236}">
                <a16:creationId xmlns:a16="http://schemas.microsoft.com/office/drawing/2014/main" id="{51927612-89E9-9BC6-3133-2D1C00B84867}"/>
              </a:ext>
            </a:extLst>
          </p:cNvPr>
          <p:cNvSpPr>
            <a:spLocks/>
          </p:cNvSpPr>
          <p:nvPr userDrawn="1"/>
        </p:nvSpPr>
        <p:spPr>
          <a:xfrm>
            <a:off x="939337" y="1704811"/>
            <a:ext cx="3183181" cy="44474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38921" dir="3419100" sx="103238" sy="103238" algn="ctr" rotWithShape="0">
              <a:srgbClr val="000000">
                <a:alpha val="19344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4D92726-0EE9-0F84-D780-C486486436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4409" y="1704811"/>
            <a:ext cx="3183182" cy="1046716"/>
          </a:xfrm>
          <a:solidFill>
            <a:schemeClr val="accent3"/>
          </a:solidFill>
        </p:spPr>
        <p:txBody>
          <a:bodyPr lIns="0" tIns="0" rIns="0" bIns="0" anchor="ctr">
            <a:normAutofit/>
          </a:bodyPr>
          <a:lstStyle>
            <a:lvl1pPr marL="10583" indent="0" algn="ctr" defTabSz="914400" rtl="0" eaLnBrk="1" fontAlgn="t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1" kern="1200" spc="-12" dirty="0">
                <a:solidFill>
                  <a:srgbClr val="FFFFFF"/>
                </a:solidFill>
                <a:latin typeface="+mn-lt"/>
                <a:ea typeface="+mn-ea"/>
                <a:cs typeface="Calibri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199BC89-419D-1735-0C78-7B3B6EF67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9480" y="1704811"/>
            <a:ext cx="3183182" cy="1046716"/>
          </a:xfr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10583" indent="0" algn="ctr" defTabSz="914400" rtl="0" eaLnBrk="1" fontAlgn="t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1" kern="1200" spc="-12" dirty="0">
                <a:solidFill>
                  <a:schemeClr val="accent1"/>
                </a:solidFill>
                <a:latin typeface="+mn-lt"/>
                <a:ea typeface="+mn-ea"/>
                <a:cs typeface="Calibri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E8CF26D-A3D7-5D58-DD76-04DB4353B2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9337" y="1704811"/>
            <a:ext cx="3183181" cy="1046716"/>
          </a:xfr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10583" indent="0" algn="ctr" defTabSz="914400" rtl="0" eaLnBrk="1" fontAlgn="t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1" kern="1200" spc="-12" dirty="0">
                <a:solidFill>
                  <a:srgbClr val="FFFFFF"/>
                </a:solidFill>
                <a:latin typeface="+mn-lt"/>
                <a:ea typeface="+mn-ea"/>
                <a:cs typeface="Calibri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0FBBC6B6-15D3-FF4C-1DD4-B5F92CC76A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2178" y="2896096"/>
            <a:ext cx="2857500" cy="3069275"/>
          </a:xfrm>
        </p:spPr>
        <p:txBody>
          <a:bodyPr lIns="0" tIns="0" rIns="0" bIns="0">
            <a:normAutofit/>
          </a:bodyPr>
          <a:lstStyle>
            <a:lvl1pPr marL="228600" marR="4233" indent="-220663" algn="l" defTabSz="914400" rtl="0" eaLnBrk="1" latinLnBrk="0" hangingPunct="1">
              <a:lnSpc>
                <a:spcPct val="111100"/>
              </a:lnSpc>
              <a:spcBef>
                <a:spcPts val="150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293688" marR="4233" indent="-285750" algn="l" defTabSz="914400" rtl="0" eaLnBrk="1" latinLnBrk="0" hangingPunct="1">
              <a:lnSpc>
                <a:spcPct val="1111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4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D85F7E4-0379-CCC6-8CFF-3E8C781AFB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250" y="2896094"/>
            <a:ext cx="2857500" cy="3069277"/>
          </a:xfrm>
        </p:spPr>
        <p:txBody>
          <a:bodyPr lIns="0" tIns="0" rIns="0" bIns="0">
            <a:normAutofit/>
          </a:bodyPr>
          <a:lstStyle>
            <a:lvl1pPr marL="228600" marR="4233" indent="-220663" algn="l" defTabSz="914400" rtl="0" eaLnBrk="1" latinLnBrk="0" hangingPunct="1">
              <a:lnSpc>
                <a:spcPct val="111100"/>
              </a:lnSpc>
              <a:spcBef>
                <a:spcPts val="150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293688" marR="4233" indent="-285750" algn="l" defTabSz="914400" rtl="0" eaLnBrk="1" latinLnBrk="0" hangingPunct="1">
              <a:lnSpc>
                <a:spcPct val="1111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4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8FF9587A-52E6-8DA5-8346-8A8D8B0974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2322" y="2896095"/>
            <a:ext cx="2857500" cy="3069277"/>
          </a:xfrm>
        </p:spPr>
        <p:txBody>
          <a:bodyPr lIns="0" tIns="0" rIns="0" bIns="0">
            <a:normAutofit/>
          </a:bodyPr>
          <a:lstStyle>
            <a:lvl1pPr marL="228600" marR="4233" indent="-220663" algn="l" defTabSz="914400" rtl="0" eaLnBrk="1" latinLnBrk="0" hangingPunct="1">
              <a:lnSpc>
                <a:spcPct val="111100"/>
              </a:lnSpc>
              <a:spcBef>
                <a:spcPts val="150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8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293688" marR="4233" indent="-285750" algn="l" defTabSz="914400" rtl="0" eaLnBrk="1" latinLnBrk="0" hangingPunct="1">
              <a:lnSpc>
                <a:spcPct val="1111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4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988D8-C623-5C18-78A3-8D2D9A53E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35" y="921916"/>
            <a:ext cx="10272713" cy="373062"/>
          </a:xfr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0" kern="0" spc="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B3BC3ED1-B33C-C165-949F-1AEBA30034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75039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3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5">
            <a:extLst>
              <a:ext uri="{FF2B5EF4-FFF2-40B4-BE49-F238E27FC236}">
                <a16:creationId xmlns:a16="http://schemas.microsoft.com/office/drawing/2014/main" id="{547EA0E7-81D4-1DD3-719C-502BD8D85DBE}"/>
              </a:ext>
            </a:extLst>
          </p:cNvPr>
          <p:cNvSpPr>
            <a:spLocks/>
          </p:cNvSpPr>
          <p:nvPr userDrawn="1"/>
        </p:nvSpPr>
        <p:spPr>
          <a:xfrm>
            <a:off x="6096000" y="1723539"/>
            <a:ext cx="3727915" cy="44474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28600" dist="50800" dir="3420000" algn="ctr" rotWithShape="0">
              <a:srgbClr val="000000">
                <a:alpha val="17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13" name="Rectangle: Rounded Corners 5">
            <a:extLst>
              <a:ext uri="{FF2B5EF4-FFF2-40B4-BE49-F238E27FC236}">
                <a16:creationId xmlns:a16="http://schemas.microsoft.com/office/drawing/2014/main" id="{51927612-89E9-9BC6-3133-2D1C00B84867}"/>
              </a:ext>
            </a:extLst>
          </p:cNvPr>
          <p:cNvSpPr>
            <a:spLocks/>
          </p:cNvSpPr>
          <p:nvPr userDrawn="1"/>
        </p:nvSpPr>
        <p:spPr>
          <a:xfrm>
            <a:off x="1616529" y="1721744"/>
            <a:ext cx="3727914" cy="4447423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238921" dir="3419100" sx="103238" sy="103238" algn="ctr" rotWithShape="0">
              <a:srgbClr val="000000">
                <a:alpha val="19344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4D92726-0EE9-0F84-D780-C486486436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1721744"/>
            <a:ext cx="3727915" cy="1046716"/>
          </a:xfrm>
          <a:solidFill>
            <a:schemeClr val="accent3"/>
          </a:solidFill>
        </p:spPr>
        <p:txBody>
          <a:bodyPr lIns="0" tIns="0" rIns="0" bIns="0" anchor="ctr">
            <a:normAutofit/>
          </a:bodyPr>
          <a:lstStyle>
            <a:lvl1pPr marL="10583" indent="0" algn="ctr" defTabSz="914400" rtl="0" eaLnBrk="1" fontAlgn="t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1" kern="1200" spc="-12" dirty="0">
                <a:solidFill>
                  <a:srgbClr val="FFFFFF"/>
                </a:solidFill>
                <a:latin typeface="+mn-lt"/>
                <a:ea typeface="+mn-ea"/>
                <a:cs typeface="Calibri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E8CF26D-A3D7-5D58-DD76-04DB4353B2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6529" y="1721744"/>
            <a:ext cx="3727914" cy="1046716"/>
          </a:xfrm>
          <a:solidFill>
            <a:schemeClr val="accent4"/>
          </a:solidFill>
        </p:spPr>
        <p:txBody>
          <a:bodyPr lIns="0" tIns="0" rIns="0" bIns="0" anchor="ctr">
            <a:normAutofit/>
          </a:bodyPr>
          <a:lstStyle>
            <a:lvl1pPr marL="10583" indent="0" algn="ctr" defTabSz="914400" rtl="0" eaLnBrk="1" fontAlgn="t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1" kern="1200" spc="-12" dirty="0">
                <a:solidFill>
                  <a:srgbClr val="FFFFFF"/>
                </a:solidFill>
                <a:latin typeface="+mn-lt"/>
                <a:ea typeface="+mn-ea"/>
                <a:cs typeface="Calibri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0FBBC6B6-15D3-FF4C-1DD4-B5F92CC76A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79369" y="2913029"/>
            <a:ext cx="3359291" cy="3069275"/>
          </a:xfrm>
        </p:spPr>
        <p:txBody>
          <a:bodyPr lIns="0" tIns="0" rIns="0" bIns="0">
            <a:normAutofit/>
          </a:bodyPr>
          <a:lstStyle>
            <a:lvl1pPr marL="228600" marR="4233" indent="-220663" algn="l" defTabSz="914400" rtl="0" eaLnBrk="1" latinLnBrk="0" hangingPunct="1">
              <a:lnSpc>
                <a:spcPct val="111100"/>
              </a:lnSpc>
              <a:spcBef>
                <a:spcPts val="150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4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293688" marR="4233" indent="-285750" algn="l" defTabSz="914400" rtl="0" eaLnBrk="1" latinLnBrk="0" hangingPunct="1">
              <a:lnSpc>
                <a:spcPct val="1111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4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0D85F7E4-0379-CCC6-8CFF-3E8C781AFB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8841" y="2913027"/>
            <a:ext cx="3359291" cy="3069277"/>
          </a:xfrm>
        </p:spPr>
        <p:txBody>
          <a:bodyPr lIns="0" tIns="0" rIns="0" bIns="0">
            <a:normAutofit/>
          </a:bodyPr>
          <a:lstStyle>
            <a:lvl1pPr marL="228600" marR="4233" indent="-220663" algn="l" defTabSz="914400" rtl="0" eaLnBrk="1" latinLnBrk="0" hangingPunct="1">
              <a:lnSpc>
                <a:spcPct val="111100"/>
              </a:lnSpc>
              <a:spcBef>
                <a:spcPts val="150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4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293688" marR="4233" indent="-285750" algn="l" defTabSz="914400" rtl="0" eaLnBrk="1" latinLnBrk="0" hangingPunct="1">
              <a:lnSpc>
                <a:spcPct val="1111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tabLst>
                <a:tab pos="392113" algn="l"/>
              </a:tabLst>
              <a:defRPr lang="en-GB" sz="1400" kern="120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988D8-C623-5C18-78A3-8D2D9A53E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35" y="921916"/>
            <a:ext cx="10272713" cy="373062"/>
          </a:xfr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0" kern="0" spc="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4F3337D7-4D33-2761-F003-9A475BBD97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78856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&amp;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51" name="AutoShape 31">
            <a:extLst>
              <a:ext uri="{FF2B5EF4-FFF2-40B4-BE49-F238E27FC236}">
                <a16:creationId xmlns:a16="http://schemas.microsoft.com/office/drawing/2014/main" id="{611FD163-A000-E25B-CE58-524D6C584F43}"/>
              </a:ext>
            </a:extLst>
          </p:cNvPr>
          <p:cNvSpPr/>
          <p:nvPr userDrawn="1"/>
        </p:nvSpPr>
        <p:spPr>
          <a:xfrm flipV="1">
            <a:off x="3674721" y="2589886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52" name="AutoShape 31">
            <a:extLst>
              <a:ext uri="{FF2B5EF4-FFF2-40B4-BE49-F238E27FC236}">
                <a16:creationId xmlns:a16="http://schemas.microsoft.com/office/drawing/2014/main" id="{C11537D2-73CB-EA86-C18B-A106F0927FDB}"/>
              </a:ext>
            </a:extLst>
          </p:cNvPr>
          <p:cNvSpPr/>
          <p:nvPr userDrawn="1"/>
        </p:nvSpPr>
        <p:spPr>
          <a:xfrm flipV="1">
            <a:off x="4055721" y="2616895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53" name="AutoShape 31">
            <a:extLst>
              <a:ext uri="{FF2B5EF4-FFF2-40B4-BE49-F238E27FC236}">
                <a16:creationId xmlns:a16="http://schemas.microsoft.com/office/drawing/2014/main" id="{7A0BFC7E-6C2B-DA30-AF3B-3180423BD40B}"/>
              </a:ext>
            </a:extLst>
          </p:cNvPr>
          <p:cNvSpPr/>
          <p:nvPr userDrawn="1"/>
        </p:nvSpPr>
        <p:spPr>
          <a:xfrm flipV="1">
            <a:off x="4436721" y="2554726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54" name="AutoShape 31">
            <a:extLst>
              <a:ext uri="{FF2B5EF4-FFF2-40B4-BE49-F238E27FC236}">
                <a16:creationId xmlns:a16="http://schemas.microsoft.com/office/drawing/2014/main" id="{C052D0A6-E66C-99C2-4BB4-B7E35E4BC50B}"/>
              </a:ext>
            </a:extLst>
          </p:cNvPr>
          <p:cNvSpPr/>
          <p:nvPr userDrawn="1"/>
        </p:nvSpPr>
        <p:spPr>
          <a:xfrm flipV="1">
            <a:off x="3293721" y="2562219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55" name="AutoShape 31">
            <a:extLst>
              <a:ext uri="{FF2B5EF4-FFF2-40B4-BE49-F238E27FC236}">
                <a16:creationId xmlns:a16="http://schemas.microsoft.com/office/drawing/2014/main" id="{D9E4B9CD-FD8D-D890-189E-2A0EADC94638}"/>
              </a:ext>
            </a:extLst>
          </p:cNvPr>
          <p:cNvSpPr/>
          <p:nvPr userDrawn="1"/>
        </p:nvSpPr>
        <p:spPr>
          <a:xfrm flipV="1">
            <a:off x="2150721" y="2630926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56" name="AutoShape 31">
            <a:extLst>
              <a:ext uri="{FF2B5EF4-FFF2-40B4-BE49-F238E27FC236}">
                <a16:creationId xmlns:a16="http://schemas.microsoft.com/office/drawing/2014/main" id="{67D9C43D-E07C-A45E-05B4-0FC4086AAD00}"/>
              </a:ext>
            </a:extLst>
          </p:cNvPr>
          <p:cNvSpPr/>
          <p:nvPr userDrawn="1"/>
        </p:nvSpPr>
        <p:spPr>
          <a:xfrm flipV="1">
            <a:off x="2531721" y="2593707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57" name="AutoShape 31">
            <a:extLst>
              <a:ext uri="{FF2B5EF4-FFF2-40B4-BE49-F238E27FC236}">
                <a16:creationId xmlns:a16="http://schemas.microsoft.com/office/drawing/2014/main" id="{8E074734-4CC0-C445-8EE2-FD32D7DB735A}"/>
              </a:ext>
            </a:extLst>
          </p:cNvPr>
          <p:cNvSpPr/>
          <p:nvPr userDrawn="1"/>
        </p:nvSpPr>
        <p:spPr>
          <a:xfrm flipV="1">
            <a:off x="2912721" y="2630926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58" name="AutoShape 31">
            <a:extLst>
              <a:ext uri="{FF2B5EF4-FFF2-40B4-BE49-F238E27FC236}">
                <a16:creationId xmlns:a16="http://schemas.microsoft.com/office/drawing/2014/main" id="{4E13751D-35A6-1E8D-C862-0A2ED171BD99}"/>
              </a:ext>
            </a:extLst>
          </p:cNvPr>
          <p:cNvSpPr/>
          <p:nvPr userDrawn="1"/>
        </p:nvSpPr>
        <p:spPr>
          <a:xfrm flipV="1">
            <a:off x="1769721" y="2539031"/>
            <a:ext cx="0" cy="2520916"/>
          </a:xfrm>
          <a:prstGeom prst="line">
            <a:avLst/>
          </a:prstGeom>
          <a:ln w="12700" cap="flat">
            <a:solidFill>
              <a:schemeClr val="bg1">
                <a:lumMod val="8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8D93F37-9E86-1282-CA89-B205E96B1204}"/>
              </a:ext>
            </a:extLst>
          </p:cNvPr>
          <p:cNvSpPr>
            <a:spLocks/>
          </p:cNvSpPr>
          <p:nvPr userDrawn="1"/>
        </p:nvSpPr>
        <p:spPr>
          <a:xfrm>
            <a:off x="1388720" y="4653078"/>
            <a:ext cx="3282788" cy="498764"/>
          </a:xfrm>
          <a:prstGeom prst="roundRect">
            <a:avLst>
              <a:gd name="adj" fmla="val 5845"/>
            </a:avLst>
          </a:prstGeom>
          <a:gradFill flip="none"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5400000" scaled="1"/>
            <a:tileRect/>
          </a:gradFill>
        </p:spPr>
        <p:txBody>
          <a:bodyPr/>
          <a:lstStyle/>
          <a:p>
            <a:endParaRPr lang="en-GB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7DD5873-DBE0-7F4B-D7F9-D6CFB354BEEC}"/>
              </a:ext>
            </a:extLst>
          </p:cNvPr>
          <p:cNvSpPr>
            <a:spLocks/>
          </p:cNvSpPr>
          <p:nvPr userDrawn="1"/>
        </p:nvSpPr>
        <p:spPr>
          <a:xfrm>
            <a:off x="1388719" y="3938079"/>
            <a:ext cx="3282788" cy="498765"/>
          </a:xfrm>
          <a:prstGeom prst="roundRect">
            <a:avLst>
              <a:gd name="adj" fmla="val 5845"/>
            </a:avLst>
          </a:prstGeom>
          <a:gradFill flip="none"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5400000" scaled="1"/>
            <a:tileRect/>
          </a:gradFill>
        </p:spPr>
        <p:txBody>
          <a:bodyPr/>
          <a:lstStyle/>
          <a:p>
            <a:endParaRPr lang="en-GB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356382C-1245-756B-4833-0328C614C08D}"/>
              </a:ext>
            </a:extLst>
          </p:cNvPr>
          <p:cNvSpPr>
            <a:spLocks/>
          </p:cNvSpPr>
          <p:nvPr userDrawn="1"/>
        </p:nvSpPr>
        <p:spPr>
          <a:xfrm>
            <a:off x="1388720" y="3254028"/>
            <a:ext cx="3282788" cy="498764"/>
          </a:xfrm>
          <a:prstGeom prst="roundRect">
            <a:avLst>
              <a:gd name="adj" fmla="val 5845"/>
            </a:avLst>
          </a:prstGeom>
          <a:gradFill flip="none"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5400000" scaled="1"/>
            <a:tileRect/>
          </a:gradFill>
        </p:spPr>
        <p:txBody>
          <a:bodyPr/>
          <a:lstStyle/>
          <a:p>
            <a:endParaRPr lang="en-GB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7DD66FF-E010-4E87-5627-1D44A355F91D}"/>
              </a:ext>
            </a:extLst>
          </p:cNvPr>
          <p:cNvSpPr>
            <a:spLocks/>
          </p:cNvSpPr>
          <p:nvPr userDrawn="1"/>
        </p:nvSpPr>
        <p:spPr>
          <a:xfrm>
            <a:off x="1388720" y="2539030"/>
            <a:ext cx="3282788" cy="498765"/>
          </a:xfrm>
          <a:prstGeom prst="roundRect">
            <a:avLst>
              <a:gd name="adj" fmla="val 5845"/>
            </a:avLst>
          </a:prstGeom>
          <a:gradFill flip="none"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5400000" scaled="1"/>
            <a:tileRect/>
          </a:gradFill>
        </p:spPr>
        <p:txBody>
          <a:bodyPr/>
          <a:lstStyle/>
          <a:p>
            <a:endParaRPr lang="en-GB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B3DAB143-7DDB-C9B6-24CC-F4FFB215F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78014" y="1916863"/>
            <a:ext cx="3372775" cy="307777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2000" b="1" kern="1200" spc="119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6" name="Freeform 28">
            <a:extLst>
              <a:ext uri="{FF2B5EF4-FFF2-40B4-BE49-F238E27FC236}">
                <a16:creationId xmlns:a16="http://schemas.microsoft.com/office/drawing/2014/main" id="{DD9F8050-1972-A73F-7DDD-555185CF27C4}"/>
              </a:ext>
            </a:extLst>
          </p:cNvPr>
          <p:cNvSpPr>
            <a:spLocks/>
          </p:cNvSpPr>
          <p:nvPr userDrawn="1"/>
        </p:nvSpPr>
        <p:spPr>
          <a:xfrm>
            <a:off x="1388720" y="2539030"/>
            <a:ext cx="557276" cy="498765"/>
          </a:xfrm>
          <a:prstGeom prst="roundRect">
            <a:avLst>
              <a:gd name="adj" fmla="val 6164"/>
            </a:avLst>
          </a:prstGeom>
          <a:solidFill>
            <a:schemeClr val="accent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0C14A94-1B52-80E0-E42C-BA60153CC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48729" y="5227894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76" name="Freeform 28">
            <a:extLst>
              <a:ext uri="{FF2B5EF4-FFF2-40B4-BE49-F238E27FC236}">
                <a16:creationId xmlns:a16="http://schemas.microsoft.com/office/drawing/2014/main" id="{6617EF18-CD0C-9721-8E2A-CED72E1B7D9F}"/>
              </a:ext>
            </a:extLst>
          </p:cNvPr>
          <p:cNvSpPr>
            <a:spLocks/>
          </p:cNvSpPr>
          <p:nvPr userDrawn="1"/>
        </p:nvSpPr>
        <p:spPr>
          <a:xfrm>
            <a:off x="1388719" y="3938079"/>
            <a:ext cx="471498" cy="498765"/>
          </a:xfrm>
          <a:prstGeom prst="roundRect">
            <a:avLst>
              <a:gd name="adj" fmla="val 6566"/>
            </a:avLst>
          </a:prstGeom>
          <a:solidFill>
            <a:schemeClr val="accent4"/>
          </a:solidFill>
        </p:spPr>
        <p:txBody>
          <a:bodyPr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96" name="Text Placeholder 14">
            <a:extLst>
              <a:ext uri="{FF2B5EF4-FFF2-40B4-BE49-F238E27FC236}">
                <a16:creationId xmlns:a16="http://schemas.microsoft.com/office/drawing/2014/main" id="{A50ECC04-EA68-D54D-CACF-A4196D2219F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32572" y="2665302"/>
            <a:ext cx="469572" cy="246221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98" name="Text Placeholder 14">
            <a:extLst>
              <a:ext uri="{FF2B5EF4-FFF2-40B4-BE49-F238E27FC236}">
                <a16:creationId xmlns:a16="http://schemas.microsoft.com/office/drawing/2014/main" id="{37D58A8A-95E3-8D97-F5F3-0204CF10C9A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10849" y="4048898"/>
            <a:ext cx="427238" cy="277127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bg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E4FA768-CBF9-849F-7E44-E477444B91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13473" y="5228726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5ADAD0BA-21D9-40D3-16AE-61247CB407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78217" y="5231473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5E24DFE4-F964-B8C7-0741-4BF6724CCF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42961" y="5228726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BE85538-7E3F-6D26-9F30-E73E3BE8A1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07705" y="5228726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346E9AB-6B45-33EA-4820-44BDF17E88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72449" y="5228726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10817687-8CF2-12B4-C361-EEC2F9F926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37193" y="5228726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EB1D503B-48F5-DBB3-0BBD-D4DA1975C0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1935" y="5228724"/>
            <a:ext cx="241984" cy="21320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ts val="1892"/>
              </a:lnSpc>
              <a:spcAft>
                <a:spcPts val="150"/>
              </a:spcAft>
              <a:buNone/>
              <a:defRPr lang="en-GB" sz="900" kern="1200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058D6A3-B3DF-9B13-C984-2C7BD1324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3261" y="2680357"/>
            <a:ext cx="558670" cy="215444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7203E6E-90BF-22E2-9074-B51162CBC6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852" y="3388984"/>
            <a:ext cx="558670" cy="182038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7F24BC9E-FAED-F49C-30F7-EAF916BC67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680" y="4100837"/>
            <a:ext cx="558670" cy="182038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1E75399-D28D-F8FF-AF90-A97DD7F210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3261" y="4844004"/>
            <a:ext cx="558670" cy="182038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1" name="AutoShape 3">
            <a:extLst>
              <a:ext uri="{FF2B5EF4-FFF2-40B4-BE49-F238E27FC236}">
                <a16:creationId xmlns:a16="http://schemas.microsoft.com/office/drawing/2014/main" id="{5CED262F-D0B0-CCBF-E5EA-9AA69152830C}"/>
              </a:ext>
            </a:extLst>
          </p:cNvPr>
          <p:cNvSpPr/>
          <p:nvPr userDrawn="1"/>
        </p:nvSpPr>
        <p:spPr>
          <a:xfrm>
            <a:off x="6238590" y="2834349"/>
            <a:ext cx="4903065" cy="10503"/>
          </a:xfrm>
          <a:prstGeom prst="line">
            <a:avLst/>
          </a:prstGeom>
          <a:ln w="38100" cap="flat">
            <a:solidFill>
              <a:schemeClr val="bg1">
                <a:lumMod val="85000"/>
              </a:schemeClr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22" name="AutoShape 2">
            <a:extLst>
              <a:ext uri="{FF2B5EF4-FFF2-40B4-BE49-F238E27FC236}">
                <a16:creationId xmlns:a16="http://schemas.microsoft.com/office/drawing/2014/main" id="{12F2D25A-A45A-61D1-9705-15A3C47C68D0}"/>
              </a:ext>
            </a:extLst>
          </p:cNvPr>
          <p:cNvSpPr/>
          <p:nvPr userDrawn="1"/>
        </p:nvSpPr>
        <p:spPr>
          <a:xfrm>
            <a:off x="6248012" y="4727293"/>
            <a:ext cx="4886596" cy="0"/>
          </a:xfrm>
          <a:prstGeom prst="line">
            <a:avLst/>
          </a:prstGeom>
          <a:ln w="38100" cap="flat">
            <a:solidFill>
              <a:schemeClr val="bg1">
                <a:lumMod val="85000"/>
              </a:schemeClr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23" name="AutoShape 2">
            <a:extLst>
              <a:ext uri="{FF2B5EF4-FFF2-40B4-BE49-F238E27FC236}">
                <a16:creationId xmlns:a16="http://schemas.microsoft.com/office/drawing/2014/main" id="{C8E9C514-55F2-B463-8661-4D844A28510C}"/>
              </a:ext>
            </a:extLst>
          </p:cNvPr>
          <p:cNvSpPr/>
          <p:nvPr userDrawn="1"/>
        </p:nvSpPr>
        <p:spPr>
          <a:xfrm flipV="1">
            <a:off x="6228609" y="4344693"/>
            <a:ext cx="4920278" cy="2610"/>
          </a:xfrm>
          <a:prstGeom prst="line">
            <a:avLst/>
          </a:prstGeom>
          <a:ln w="38100" cap="flat">
            <a:solidFill>
              <a:schemeClr val="bg1">
                <a:lumMod val="85000"/>
              </a:schemeClr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24" name="AutoShape 3">
            <a:extLst>
              <a:ext uri="{FF2B5EF4-FFF2-40B4-BE49-F238E27FC236}">
                <a16:creationId xmlns:a16="http://schemas.microsoft.com/office/drawing/2014/main" id="{A2C37471-3C5E-C7B3-BF01-F6B23F5E8552}"/>
              </a:ext>
            </a:extLst>
          </p:cNvPr>
          <p:cNvSpPr/>
          <p:nvPr userDrawn="1"/>
        </p:nvSpPr>
        <p:spPr>
          <a:xfrm flipV="1">
            <a:off x="6247661" y="3962651"/>
            <a:ext cx="4903064" cy="6261"/>
          </a:xfrm>
          <a:prstGeom prst="line">
            <a:avLst/>
          </a:prstGeom>
          <a:ln w="38100" cap="flat">
            <a:solidFill>
              <a:schemeClr val="bg1">
                <a:lumMod val="85000"/>
              </a:schemeClr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25" name="AutoShape 4">
            <a:extLst>
              <a:ext uri="{FF2B5EF4-FFF2-40B4-BE49-F238E27FC236}">
                <a16:creationId xmlns:a16="http://schemas.microsoft.com/office/drawing/2014/main" id="{2DA3CDA7-DB29-9723-E5EC-C5FA782D0A7C}"/>
              </a:ext>
            </a:extLst>
          </p:cNvPr>
          <p:cNvSpPr/>
          <p:nvPr userDrawn="1"/>
        </p:nvSpPr>
        <p:spPr>
          <a:xfrm flipV="1">
            <a:off x="6246398" y="3570897"/>
            <a:ext cx="4802458" cy="12193"/>
          </a:xfrm>
          <a:prstGeom prst="line">
            <a:avLst/>
          </a:prstGeom>
          <a:ln w="38100" cap="flat">
            <a:solidFill>
              <a:schemeClr val="bg1">
                <a:lumMod val="85000"/>
              </a:schemeClr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126" name="AutoShape 5">
            <a:extLst>
              <a:ext uri="{FF2B5EF4-FFF2-40B4-BE49-F238E27FC236}">
                <a16:creationId xmlns:a16="http://schemas.microsoft.com/office/drawing/2014/main" id="{F02870F4-91B6-FE77-0E18-E05726FFA04C}"/>
              </a:ext>
            </a:extLst>
          </p:cNvPr>
          <p:cNvSpPr/>
          <p:nvPr userDrawn="1"/>
        </p:nvSpPr>
        <p:spPr>
          <a:xfrm>
            <a:off x="6244626" y="3206434"/>
            <a:ext cx="4889982" cy="23621"/>
          </a:xfrm>
          <a:prstGeom prst="line">
            <a:avLst/>
          </a:prstGeom>
          <a:ln w="38100" cap="flat">
            <a:solidFill>
              <a:schemeClr val="bg1">
                <a:lumMod val="85000"/>
              </a:schemeClr>
            </a:solidFill>
            <a:prstDash val="sysDot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EC61B457-8109-C2C2-145A-058CBDFC8C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51544" y="4857217"/>
            <a:ext cx="970983" cy="182038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4D890817-585D-F3CB-FB3A-4DC2E8942E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491892" y="4844004"/>
            <a:ext cx="970983" cy="182038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CC4A76F1-C2EA-0F3C-E6F2-70A4B45661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99382" y="4852008"/>
            <a:ext cx="970983" cy="182038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3923D90A-1BF6-79E0-FB2F-38DD8BC5C7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42077" y="4852008"/>
            <a:ext cx="970983" cy="182038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616276EF-D07D-1A47-1969-C40AD85423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730689" y="4557633"/>
            <a:ext cx="469572" cy="223394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4CFB59C4-ADF0-55BF-2EF0-05D78FA5CCF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0689" y="4207307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A419C016-3D60-0791-AEFD-D1D76A4F369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730689" y="3456623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FEDF34F9-7CC8-6177-71FB-D0FD72F282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30689" y="3090818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95" name="Text Placeholder 94">
            <a:extLst>
              <a:ext uri="{FF2B5EF4-FFF2-40B4-BE49-F238E27FC236}">
                <a16:creationId xmlns:a16="http://schemas.microsoft.com/office/drawing/2014/main" id="{0AAA57C2-8084-CFA6-78E9-5ED367FCC86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945003" y="1916863"/>
            <a:ext cx="5233809" cy="307777"/>
          </a:xfr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708DA023-5491-8383-2BD7-8736D1636B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0689" y="3838442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32" name="Freeform 11">
            <a:extLst>
              <a:ext uri="{FF2B5EF4-FFF2-40B4-BE49-F238E27FC236}">
                <a16:creationId xmlns:a16="http://schemas.microsoft.com/office/drawing/2014/main" id="{31BC83BB-3AA0-7015-52DB-9C339294BDE2}"/>
              </a:ext>
            </a:extLst>
          </p:cNvPr>
          <p:cNvSpPr>
            <a:spLocks/>
          </p:cNvSpPr>
          <p:nvPr/>
        </p:nvSpPr>
        <p:spPr>
          <a:xfrm>
            <a:off x="6687653" y="2692110"/>
            <a:ext cx="498764" cy="2036694"/>
          </a:xfrm>
          <a:custGeom>
            <a:avLst/>
            <a:gdLst/>
            <a:ahLst/>
            <a:cxnLst/>
            <a:rect l="l" t="t" r="r" b="b"/>
            <a:pathLst>
              <a:path w="1661990" h="9115961">
                <a:moveTo>
                  <a:pt x="1537530" y="9115961"/>
                </a:moveTo>
                <a:lnTo>
                  <a:pt x="124460" y="9115961"/>
                </a:lnTo>
                <a:cubicBezTo>
                  <a:pt x="55880" y="9115961"/>
                  <a:pt x="0" y="9060082"/>
                  <a:pt x="0" y="899150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1537530" y="0"/>
                </a:lnTo>
                <a:cubicBezTo>
                  <a:pt x="1606110" y="0"/>
                  <a:pt x="1661990" y="55880"/>
                  <a:pt x="1661990" y="124460"/>
                </a:cubicBezTo>
                <a:lnTo>
                  <a:pt x="1661990" y="8991502"/>
                </a:lnTo>
                <a:cubicBezTo>
                  <a:pt x="1661990" y="9060082"/>
                  <a:pt x="1606110" y="9115961"/>
                  <a:pt x="1537530" y="9115961"/>
                </a:cubicBezTo>
                <a:close/>
              </a:path>
            </a:pathLst>
          </a:custGeom>
          <a:gradFill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0"/>
          </a:gradFill>
        </p:spPr>
        <p:txBody>
          <a:bodyPr/>
          <a:lstStyle/>
          <a:p>
            <a:endParaRPr lang="en-US" dirty="0"/>
          </a:p>
        </p:txBody>
      </p:sp>
      <p:sp>
        <p:nvSpPr>
          <p:cNvPr id="144" name="Freeform 24">
            <a:extLst>
              <a:ext uri="{FF2B5EF4-FFF2-40B4-BE49-F238E27FC236}">
                <a16:creationId xmlns:a16="http://schemas.microsoft.com/office/drawing/2014/main" id="{0F9D9B7A-299B-43B7-C8FC-87865EACBE5F}"/>
              </a:ext>
            </a:extLst>
          </p:cNvPr>
          <p:cNvSpPr/>
          <p:nvPr/>
        </p:nvSpPr>
        <p:spPr>
          <a:xfrm>
            <a:off x="6687653" y="4455319"/>
            <a:ext cx="498764" cy="300950"/>
          </a:xfrm>
          <a:prstGeom prst="roundRect">
            <a:avLst>
              <a:gd name="adj" fmla="val 5209"/>
            </a:avLst>
          </a:prstGeom>
          <a:solidFill>
            <a:schemeClr val="accent4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00" name="Text Placeholder 14">
            <a:extLst>
              <a:ext uri="{FF2B5EF4-FFF2-40B4-BE49-F238E27FC236}">
                <a16:creationId xmlns:a16="http://schemas.microsoft.com/office/drawing/2014/main" id="{61394BB8-ED13-D4BB-3F04-406B6FC46FB9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6702249" y="4491564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bg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23" name="Freeform 11">
            <a:extLst>
              <a:ext uri="{FF2B5EF4-FFF2-40B4-BE49-F238E27FC236}">
                <a16:creationId xmlns:a16="http://schemas.microsoft.com/office/drawing/2014/main" id="{C6F06F5D-F7C0-A534-8B4D-3C155280204D}"/>
              </a:ext>
            </a:extLst>
          </p:cNvPr>
          <p:cNvSpPr>
            <a:spLocks/>
          </p:cNvSpPr>
          <p:nvPr/>
        </p:nvSpPr>
        <p:spPr>
          <a:xfrm>
            <a:off x="8035491" y="2713918"/>
            <a:ext cx="498764" cy="2013374"/>
          </a:xfrm>
          <a:custGeom>
            <a:avLst/>
            <a:gdLst/>
            <a:ahLst/>
            <a:cxnLst/>
            <a:rect l="l" t="t" r="r" b="b"/>
            <a:pathLst>
              <a:path w="1661990" h="9115961">
                <a:moveTo>
                  <a:pt x="1537530" y="9115961"/>
                </a:moveTo>
                <a:lnTo>
                  <a:pt x="124460" y="9115961"/>
                </a:lnTo>
                <a:cubicBezTo>
                  <a:pt x="55880" y="9115961"/>
                  <a:pt x="0" y="9060082"/>
                  <a:pt x="0" y="899150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1537530" y="0"/>
                </a:lnTo>
                <a:cubicBezTo>
                  <a:pt x="1606110" y="0"/>
                  <a:pt x="1661990" y="55880"/>
                  <a:pt x="1661990" y="124460"/>
                </a:cubicBezTo>
                <a:lnTo>
                  <a:pt x="1661990" y="8991502"/>
                </a:lnTo>
                <a:cubicBezTo>
                  <a:pt x="1661990" y="9060082"/>
                  <a:pt x="1606110" y="9115961"/>
                  <a:pt x="1537530" y="9115961"/>
                </a:cubicBezTo>
                <a:close/>
              </a:path>
            </a:pathLst>
          </a:custGeom>
          <a:gradFill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0"/>
          </a:gradFill>
        </p:spPr>
        <p:txBody>
          <a:bodyPr/>
          <a:lstStyle/>
          <a:p>
            <a:endParaRPr lang="en-US" dirty="0"/>
          </a:p>
        </p:txBody>
      </p:sp>
      <p:sp>
        <p:nvSpPr>
          <p:cNvPr id="148" name="Freeform 28">
            <a:extLst>
              <a:ext uri="{FF2B5EF4-FFF2-40B4-BE49-F238E27FC236}">
                <a16:creationId xmlns:a16="http://schemas.microsoft.com/office/drawing/2014/main" id="{EA9B79D9-5775-2277-99DF-596290F0025C}"/>
              </a:ext>
            </a:extLst>
          </p:cNvPr>
          <p:cNvSpPr/>
          <p:nvPr/>
        </p:nvSpPr>
        <p:spPr>
          <a:xfrm>
            <a:off x="8035491" y="3004496"/>
            <a:ext cx="498764" cy="1751773"/>
          </a:xfrm>
          <a:prstGeom prst="roundRect">
            <a:avLst>
              <a:gd name="adj" fmla="val 4254"/>
            </a:avLst>
          </a:prstGeom>
          <a:solidFill>
            <a:schemeClr val="accent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02" name="Text Placeholder 14">
            <a:extLst>
              <a:ext uri="{FF2B5EF4-FFF2-40B4-BE49-F238E27FC236}">
                <a16:creationId xmlns:a16="http://schemas.microsoft.com/office/drawing/2014/main" id="{EF4C9EA2-FF59-E65D-0298-1AA91834D4C4}"/>
              </a:ext>
            </a:extLst>
          </p:cNvPr>
          <p:cNvSpPr>
            <a:spLocks noGrp="1"/>
          </p:cNvSpPr>
          <p:nvPr userDrawn="1">
            <p:ph type="body" sz="quarter" idx="46" hasCustomPrompt="1"/>
          </p:nvPr>
        </p:nvSpPr>
        <p:spPr>
          <a:xfrm>
            <a:off x="8050087" y="3031908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24" name="Freeform 11">
            <a:extLst>
              <a:ext uri="{FF2B5EF4-FFF2-40B4-BE49-F238E27FC236}">
                <a16:creationId xmlns:a16="http://schemas.microsoft.com/office/drawing/2014/main" id="{278642F6-D41F-8A28-547B-A8393407C65F}"/>
              </a:ext>
            </a:extLst>
          </p:cNvPr>
          <p:cNvSpPr>
            <a:spLocks/>
          </p:cNvSpPr>
          <p:nvPr/>
        </p:nvSpPr>
        <p:spPr>
          <a:xfrm>
            <a:off x="9378186" y="2692111"/>
            <a:ext cx="498764" cy="1904694"/>
          </a:xfrm>
          <a:custGeom>
            <a:avLst/>
            <a:gdLst/>
            <a:ahLst/>
            <a:cxnLst/>
            <a:rect l="l" t="t" r="r" b="b"/>
            <a:pathLst>
              <a:path w="1661990" h="9115961">
                <a:moveTo>
                  <a:pt x="1537530" y="9115961"/>
                </a:moveTo>
                <a:lnTo>
                  <a:pt x="124460" y="9115961"/>
                </a:lnTo>
                <a:cubicBezTo>
                  <a:pt x="55880" y="9115961"/>
                  <a:pt x="0" y="9060082"/>
                  <a:pt x="0" y="899150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1537530" y="0"/>
                </a:lnTo>
                <a:cubicBezTo>
                  <a:pt x="1606110" y="0"/>
                  <a:pt x="1661990" y="55880"/>
                  <a:pt x="1661990" y="124460"/>
                </a:cubicBezTo>
                <a:lnTo>
                  <a:pt x="1661990" y="8991502"/>
                </a:lnTo>
                <a:cubicBezTo>
                  <a:pt x="1661990" y="9060082"/>
                  <a:pt x="1606110" y="9115961"/>
                  <a:pt x="1537530" y="9115961"/>
                </a:cubicBezTo>
                <a:close/>
              </a:path>
            </a:pathLst>
          </a:custGeom>
          <a:gradFill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0"/>
          </a:gradFill>
        </p:spPr>
        <p:txBody>
          <a:bodyPr/>
          <a:lstStyle/>
          <a:p>
            <a:endParaRPr lang="en-US" dirty="0"/>
          </a:p>
        </p:txBody>
      </p:sp>
      <p:sp>
        <p:nvSpPr>
          <p:cNvPr id="146" name="Freeform 26">
            <a:extLst>
              <a:ext uri="{FF2B5EF4-FFF2-40B4-BE49-F238E27FC236}">
                <a16:creationId xmlns:a16="http://schemas.microsoft.com/office/drawing/2014/main" id="{DEC1DC30-E7D5-B4C8-1B6C-45E440E9C63F}"/>
              </a:ext>
            </a:extLst>
          </p:cNvPr>
          <p:cNvSpPr/>
          <p:nvPr/>
        </p:nvSpPr>
        <p:spPr>
          <a:xfrm>
            <a:off x="9378186" y="3263900"/>
            <a:ext cx="498764" cy="1492369"/>
          </a:xfrm>
          <a:prstGeom prst="roundRect">
            <a:avLst>
              <a:gd name="adj" fmla="val 5209"/>
            </a:avLst>
          </a:prstGeom>
          <a:solidFill>
            <a:schemeClr val="accent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03" name="Text Placeholder 14">
            <a:extLst>
              <a:ext uri="{FF2B5EF4-FFF2-40B4-BE49-F238E27FC236}">
                <a16:creationId xmlns:a16="http://schemas.microsoft.com/office/drawing/2014/main" id="{3855865A-4030-A3EE-1571-63D5FE37ACAD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>
          <a:xfrm>
            <a:off x="9392782" y="3274754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bg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31" name="Freeform 11">
            <a:extLst>
              <a:ext uri="{FF2B5EF4-FFF2-40B4-BE49-F238E27FC236}">
                <a16:creationId xmlns:a16="http://schemas.microsoft.com/office/drawing/2014/main" id="{86FF6195-9B3F-587F-0F26-6E7C0E701EE5}"/>
              </a:ext>
            </a:extLst>
          </p:cNvPr>
          <p:cNvSpPr>
            <a:spLocks/>
          </p:cNvSpPr>
          <p:nvPr/>
        </p:nvSpPr>
        <p:spPr>
          <a:xfrm>
            <a:off x="10728001" y="2674704"/>
            <a:ext cx="498764" cy="2052031"/>
          </a:xfrm>
          <a:custGeom>
            <a:avLst/>
            <a:gdLst/>
            <a:ahLst/>
            <a:cxnLst/>
            <a:rect l="l" t="t" r="r" b="b"/>
            <a:pathLst>
              <a:path w="1661990" h="9115961">
                <a:moveTo>
                  <a:pt x="1537530" y="9115961"/>
                </a:moveTo>
                <a:lnTo>
                  <a:pt x="124460" y="9115961"/>
                </a:lnTo>
                <a:cubicBezTo>
                  <a:pt x="55880" y="9115961"/>
                  <a:pt x="0" y="9060082"/>
                  <a:pt x="0" y="8991502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1537530" y="0"/>
                </a:lnTo>
                <a:cubicBezTo>
                  <a:pt x="1606110" y="0"/>
                  <a:pt x="1661990" y="55880"/>
                  <a:pt x="1661990" y="124460"/>
                </a:cubicBezTo>
                <a:lnTo>
                  <a:pt x="1661990" y="8991502"/>
                </a:lnTo>
                <a:cubicBezTo>
                  <a:pt x="1661990" y="9060082"/>
                  <a:pt x="1606110" y="9115961"/>
                  <a:pt x="1537530" y="9115961"/>
                </a:cubicBezTo>
                <a:close/>
              </a:path>
            </a:pathLst>
          </a:custGeom>
          <a:gradFill rotWithShape="1">
            <a:gsLst>
              <a:gs pos="0">
                <a:srgbClr val="EDEDED">
                  <a:alpha val="100000"/>
                </a:srgbClr>
              </a:gs>
              <a:gs pos="100000">
                <a:srgbClr val="D4D1D1">
                  <a:alpha val="100000"/>
                </a:srgbClr>
              </a:gs>
            </a:gsLst>
            <a:lin ang="0"/>
          </a:gradFill>
        </p:spPr>
        <p:txBody>
          <a:bodyPr/>
          <a:lstStyle/>
          <a:p>
            <a:endParaRPr lang="en-US" dirty="0"/>
          </a:p>
        </p:txBody>
      </p:sp>
      <p:sp>
        <p:nvSpPr>
          <p:cNvPr id="32" name="Freeform 28">
            <a:extLst>
              <a:ext uri="{FF2B5EF4-FFF2-40B4-BE49-F238E27FC236}">
                <a16:creationId xmlns:a16="http://schemas.microsoft.com/office/drawing/2014/main" id="{C9B9D3E1-643A-D763-0FDD-71641F42268D}"/>
              </a:ext>
            </a:extLst>
          </p:cNvPr>
          <p:cNvSpPr/>
          <p:nvPr/>
        </p:nvSpPr>
        <p:spPr>
          <a:xfrm>
            <a:off x="10728001" y="2970861"/>
            <a:ext cx="498764" cy="1785407"/>
          </a:xfrm>
          <a:prstGeom prst="roundRect">
            <a:avLst>
              <a:gd name="adj" fmla="val 4254"/>
            </a:avLst>
          </a:prstGeom>
          <a:solidFill>
            <a:schemeClr val="accent3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04" name="Text Placeholder 14">
            <a:extLst>
              <a:ext uri="{FF2B5EF4-FFF2-40B4-BE49-F238E27FC236}">
                <a16:creationId xmlns:a16="http://schemas.microsoft.com/office/drawing/2014/main" id="{30BF6F4D-98EC-2C43-17FB-1883FE10E100}"/>
              </a:ext>
            </a:extLst>
          </p:cNvPr>
          <p:cNvSpPr>
            <a:spLocks noGrp="1"/>
          </p:cNvSpPr>
          <p:nvPr userDrawn="1">
            <p:ph type="body" sz="quarter" idx="48" hasCustomPrompt="1"/>
          </p:nvPr>
        </p:nvSpPr>
        <p:spPr>
          <a:xfrm>
            <a:off x="10742597" y="2998799"/>
            <a:ext cx="469572" cy="232846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bg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C87C480A-40B3-6895-40F3-543621F2C7A8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5730689" y="2686474"/>
            <a:ext cx="469572" cy="228460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400" b="1" kern="1200" spc="58" dirty="0">
                <a:solidFill>
                  <a:schemeClr val="accent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6" name="AutoShape 31">
            <a:extLst>
              <a:ext uri="{FF2B5EF4-FFF2-40B4-BE49-F238E27FC236}">
                <a16:creationId xmlns:a16="http://schemas.microsoft.com/office/drawing/2014/main" id="{9D94AFE0-92EB-E787-5567-5E1ACD205CFB}"/>
              </a:ext>
            </a:extLst>
          </p:cNvPr>
          <p:cNvSpPr/>
          <p:nvPr userDrawn="1"/>
        </p:nvSpPr>
        <p:spPr>
          <a:xfrm rot="5400000" flipV="1">
            <a:off x="3223212" y="3716948"/>
            <a:ext cx="4151785" cy="12470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sz="1500" dirty="0"/>
          </a:p>
        </p:txBody>
      </p:sp>
      <p:sp>
        <p:nvSpPr>
          <p:cNvPr id="74" name="Freeform 24">
            <a:extLst>
              <a:ext uri="{FF2B5EF4-FFF2-40B4-BE49-F238E27FC236}">
                <a16:creationId xmlns:a16="http://schemas.microsoft.com/office/drawing/2014/main" id="{AB15D615-EA5E-87AD-CB5C-307A28BC34AD}"/>
              </a:ext>
            </a:extLst>
          </p:cNvPr>
          <p:cNvSpPr>
            <a:spLocks/>
          </p:cNvSpPr>
          <p:nvPr userDrawn="1"/>
        </p:nvSpPr>
        <p:spPr>
          <a:xfrm>
            <a:off x="1388721" y="4653077"/>
            <a:ext cx="471496" cy="498764"/>
          </a:xfrm>
          <a:prstGeom prst="roundRect">
            <a:avLst>
              <a:gd name="adj" fmla="val 6773"/>
            </a:avLst>
          </a:prstGeom>
          <a:solidFill>
            <a:schemeClr val="accent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9" name="Text Placeholder 14">
            <a:extLst>
              <a:ext uri="{FF2B5EF4-FFF2-40B4-BE49-F238E27FC236}">
                <a16:creationId xmlns:a16="http://schemas.microsoft.com/office/drawing/2014/main" id="{FF81A085-23EF-1628-FFDE-52D17070FFE4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1430890" y="4763896"/>
            <a:ext cx="387158" cy="277127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bg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E304120A-69DD-7BDB-EB1F-78C7343303E6}"/>
              </a:ext>
            </a:extLst>
          </p:cNvPr>
          <p:cNvSpPr>
            <a:spLocks/>
          </p:cNvSpPr>
          <p:nvPr userDrawn="1"/>
        </p:nvSpPr>
        <p:spPr>
          <a:xfrm>
            <a:off x="1388720" y="3254028"/>
            <a:ext cx="2416351" cy="498764"/>
          </a:xfrm>
          <a:prstGeom prst="roundRect">
            <a:avLst>
              <a:gd name="adj" fmla="val 6773"/>
            </a:avLst>
          </a:prstGeom>
          <a:solidFill>
            <a:schemeClr val="accent3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7" name="Text Placeholder 14">
            <a:extLst>
              <a:ext uri="{FF2B5EF4-FFF2-40B4-BE49-F238E27FC236}">
                <a16:creationId xmlns:a16="http://schemas.microsoft.com/office/drawing/2014/main" id="{5D20FC77-C987-D06F-5746-9D4B74659389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3276973" y="3380300"/>
            <a:ext cx="469572" cy="246221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Aft>
                <a:spcPts val="150"/>
              </a:spcAft>
              <a:buNone/>
              <a:defRPr lang="en-GB" sz="1600" b="1" kern="1200" spc="58" dirty="0">
                <a:solidFill>
                  <a:schemeClr val="bg1"/>
                </a:solidFill>
                <a:latin typeface="+mn-lt"/>
                <a:ea typeface="InterFace Bold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xxx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FCDDDEBF-8B28-CA0A-802E-5E12D64A3F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23278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5">
            <a:extLst>
              <a:ext uri="{FF2B5EF4-FFF2-40B4-BE49-F238E27FC236}">
                <a16:creationId xmlns:a16="http://schemas.microsoft.com/office/drawing/2014/main" id="{177C0302-1F1D-568F-C851-645EC7015568}"/>
              </a:ext>
            </a:extLst>
          </p:cNvPr>
          <p:cNvSpPr/>
          <p:nvPr userDrawn="1"/>
        </p:nvSpPr>
        <p:spPr>
          <a:xfrm>
            <a:off x="775473" y="1262858"/>
            <a:ext cx="4251865" cy="2642783"/>
          </a:xfrm>
          <a:prstGeom prst="roundRect">
            <a:avLst>
              <a:gd name="adj" fmla="val 716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481732" dist="134085" dir="3900000" sx="96000" sy="96000" algn="ctr" rotWithShape="0">
              <a:srgbClr val="000000">
                <a:alpha val="28957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DCA4AD7-56C9-879A-250F-A0765A1426E2}"/>
              </a:ext>
            </a:extLst>
          </p:cNvPr>
          <p:cNvSpPr/>
          <p:nvPr userDrawn="1"/>
        </p:nvSpPr>
        <p:spPr>
          <a:xfrm>
            <a:off x="1092600" y="2179360"/>
            <a:ext cx="129391" cy="12939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46E3218-7EA8-B58D-9D62-97020725B95F}"/>
              </a:ext>
            </a:extLst>
          </p:cNvPr>
          <p:cNvSpPr/>
          <p:nvPr userDrawn="1"/>
        </p:nvSpPr>
        <p:spPr>
          <a:xfrm>
            <a:off x="1098980" y="2597848"/>
            <a:ext cx="129391" cy="12939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5FA4EDB-4388-F857-2AB3-4DCC53D2C2CF}"/>
              </a:ext>
            </a:extLst>
          </p:cNvPr>
          <p:cNvSpPr/>
          <p:nvPr userDrawn="1"/>
        </p:nvSpPr>
        <p:spPr>
          <a:xfrm>
            <a:off x="1098980" y="3016336"/>
            <a:ext cx="129391" cy="12939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1F98EFB-6AEC-6AA6-7985-14C2E4EE3E5F}"/>
              </a:ext>
            </a:extLst>
          </p:cNvPr>
          <p:cNvSpPr/>
          <p:nvPr userDrawn="1"/>
        </p:nvSpPr>
        <p:spPr>
          <a:xfrm>
            <a:off x="6216276" y="1483572"/>
            <a:ext cx="5000470" cy="3680333"/>
          </a:xfrm>
          <a:prstGeom prst="roundRect">
            <a:avLst>
              <a:gd name="adj" fmla="val 716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481732" dist="134085" dir="3900000" sx="96000" sy="96000" algn="ctr" rotWithShape="0">
              <a:srgbClr val="000000">
                <a:alpha val="28957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6707D0A-CFA0-406F-9C3F-B9E23F7A39FD}"/>
              </a:ext>
            </a:extLst>
          </p:cNvPr>
          <p:cNvSpPr/>
          <p:nvPr userDrawn="1"/>
        </p:nvSpPr>
        <p:spPr>
          <a:xfrm>
            <a:off x="6647286" y="2692821"/>
            <a:ext cx="1524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6A5A01D-C472-AED9-1635-D3941B734D71}"/>
              </a:ext>
            </a:extLst>
          </p:cNvPr>
          <p:cNvSpPr/>
          <p:nvPr userDrawn="1"/>
        </p:nvSpPr>
        <p:spPr>
          <a:xfrm>
            <a:off x="6647286" y="3543679"/>
            <a:ext cx="152400" cy="1524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2771E1E-519F-E5EA-F00B-53A0ECF6C227}"/>
              </a:ext>
            </a:extLst>
          </p:cNvPr>
          <p:cNvSpPr/>
          <p:nvPr userDrawn="1"/>
        </p:nvSpPr>
        <p:spPr>
          <a:xfrm>
            <a:off x="6647286" y="3118250"/>
            <a:ext cx="152400" cy="152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E1E167B-3B1D-2488-14BD-334B397E007D}"/>
              </a:ext>
            </a:extLst>
          </p:cNvPr>
          <p:cNvSpPr/>
          <p:nvPr userDrawn="1"/>
        </p:nvSpPr>
        <p:spPr>
          <a:xfrm>
            <a:off x="6647286" y="3969108"/>
            <a:ext cx="152400" cy="152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10CC6B2-A87F-EC14-2721-9D24BAB01F0E}"/>
              </a:ext>
            </a:extLst>
          </p:cNvPr>
          <p:cNvSpPr/>
          <p:nvPr userDrawn="1"/>
        </p:nvSpPr>
        <p:spPr>
          <a:xfrm>
            <a:off x="6647286" y="4394537"/>
            <a:ext cx="152400" cy="152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97E0DA6-B804-51EA-D8AD-F42B95E10ECF}"/>
              </a:ext>
            </a:extLst>
          </p:cNvPr>
          <p:cNvSpPr/>
          <p:nvPr userDrawn="1"/>
        </p:nvSpPr>
        <p:spPr>
          <a:xfrm>
            <a:off x="911501" y="5173718"/>
            <a:ext cx="1524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9846EED-37D3-29E1-6CCF-420CCB5714A7}"/>
              </a:ext>
            </a:extLst>
          </p:cNvPr>
          <p:cNvSpPr/>
          <p:nvPr userDrawn="1"/>
        </p:nvSpPr>
        <p:spPr>
          <a:xfrm>
            <a:off x="917881" y="5588464"/>
            <a:ext cx="152400" cy="1524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DEC7DD0-ED2C-3AA4-1D6A-07B55946345C}"/>
              </a:ext>
            </a:extLst>
          </p:cNvPr>
          <p:cNvSpPr/>
          <p:nvPr userDrawn="1"/>
        </p:nvSpPr>
        <p:spPr>
          <a:xfrm>
            <a:off x="917881" y="6010694"/>
            <a:ext cx="152400" cy="152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3" name="Text Placeholder 102">
            <a:extLst>
              <a:ext uri="{FF2B5EF4-FFF2-40B4-BE49-F238E27FC236}">
                <a16:creationId xmlns:a16="http://schemas.microsoft.com/office/drawing/2014/main" id="{CD1341EA-2DB3-4D16-14D2-D8EC4AF30D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7844" y="2130452"/>
            <a:ext cx="1646577" cy="1056700"/>
          </a:xfrm>
        </p:spPr>
        <p:txBody>
          <a:bodyPr wrap="square" lIns="0" tIns="0" rIns="0" bIns="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lang="en-US" sz="140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dirty="0" smtClean="0"/>
            </a:lvl4pPr>
            <a:lvl5pPr marL="1600200" indent="0">
              <a:buNone/>
              <a:defRPr lang="en-US" dirty="0"/>
            </a:lvl5pPr>
          </a:lstStyle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</p:txBody>
      </p:sp>
      <p:sp>
        <p:nvSpPr>
          <p:cNvPr id="108" name="Text Placeholder 102">
            <a:extLst>
              <a:ext uri="{FF2B5EF4-FFF2-40B4-BE49-F238E27FC236}">
                <a16:creationId xmlns:a16="http://schemas.microsoft.com/office/drawing/2014/main" id="{22E15BD4-F0FB-569C-508F-9B45A04C65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399" y="5136314"/>
            <a:ext cx="1724131" cy="1056700"/>
          </a:xfrm>
        </p:spPr>
        <p:txBody>
          <a:bodyPr wrap="square" lIns="0" tIns="0" rIns="0" bIns="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lang="en-US" sz="140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dirty="0" smtClean="0"/>
            </a:lvl4pPr>
            <a:lvl5pPr marL="1600200" indent="0">
              <a:buNone/>
              <a:defRPr lang="en-US" dirty="0"/>
            </a:lvl5pPr>
          </a:lstStyle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</p:txBody>
      </p:sp>
      <p:sp>
        <p:nvSpPr>
          <p:cNvPr id="109" name="Text Placeholder 102">
            <a:extLst>
              <a:ext uri="{FF2B5EF4-FFF2-40B4-BE49-F238E27FC236}">
                <a16:creationId xmlns:a16="http://schemas.microsoft.com/office/drawing/2014/main" id="{E86054B0-187A-E5C9-29CC-9748960447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8833" y="2650383"/>
            <a:ext cx="1360467" cy="1938992"/>
          </a:xfrm>
        </p:spPr>
        <p:txBody>
          <a:bodyPr wrap="square" lIns="0" tIns="0" rIns="0" bIns="0" rtlCol="0" anchor="ctr">
            <a:spAutoFit/>
          </a:bodyPr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lang="en-US" sz="140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dirty="0" smtClean="0"/>
            </a:lvl4pPr>
            <a:lvl5pPr marL="1600200" indent="0">
              <a:buNone/>
              <a:defRPr lang="en-US" dirty="0"/>
            </a:lvl5pPr>
          </a:lstStyle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  <a:p>
            <a:pPr marL="0" lvl="0">
              <a:lnSpc>
                <a:spcPct val="100000"/>
              </a:lnSpc>
              <a:spcAft>
                <a:spcPts val="1600"/>
              </a:spcAft>
            </a:pPr>
            <a:r>
              <a:rPr lang="en-US" dirty="0"/>
              <a:t>Text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Text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Text Here</a:t>
            </a:r>
          </a:p>
        </p:txBody>
      </p:sp>
      <p:sp>
        <p:nvSpPr>
          <p:cNvPr id="111" name="Text Placeholder 110">
            <a:extLst>
              <a:ext uri="{FF2B5EF4-FFF2-40B4-BE49-F238E27FC236}">
                <a16:creationId xmlns:a16="http://schemas.microsoft.com/office/drawing/2014/main" id="{9ACD0410-D5C4-103D-0C1C-14CC4023F0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3652" y="1610293"/>
            <a:ext cx="1843864" cy="307777"/>
          </a:xfrm>
        </p:spPr>
        <p:txBody>
          <a:bodyPr wrap="square" lIns="0" tIns="0" rIns="0" bIns="0" rtlCol="0" anchor="ctr">
            <a:spAutoFit/>
          </a:bodyPr>
          <a:lstStyle>
            <a:lvl1pPr marL="0" indent="0">
              <a:lnSpc>
                <a:spcPct val="100000"/>
              </a:lnSpc>
              <a:buNone/>
              <a:defRPr lang="en-US" sz="2000" b="1" dirty="0" smtClean="0">
                <a:solidFill>
                  <a:schemeClr val="accent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dirty="0" smtClean="0"/>
            </a:lvl4pPr>
            <a:lvl5pPr marL="1600200" indent="0">
              <a:buNone/>
              <a:defRPr lang="en-US" dirty="0"/>
            </a:lvl5pPr>
          </a:lstStyle>
          <a:p>
            <a:pPr marL="0" lvl="0"/>
            <a:r>
              <a:rPr lang="en-US" dirty="0"/>
              <a:t>Text here</a:t>
            </a:r>
          </a:p>
        </p:txBody>
      </p:sp>
      <p:sp>
        <p:nvSpPr>
          <p:cNvPr id="112" name="Text Placeholder 110">
            <a:extLst>
              <a:ext uri="{FF2B5EF4-FFF2-40B4-BE49-F238E27FC236}">
                <a16:creationId xmlns:a16="http://schemas.microsoft.com/office/drawing/2014/main" id="{6CA29646-C69C-0C7B-40E2-A455F39C3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996" y="4634580"/>
            <a:ext cx="1843864" cy="307777"/>
          </a:xfrm>
        </p:spPr>
        <p:txBody>
          <a:bodyPr wrap="square" lIns="0" tIns="0" rIns="0" bIns="0" rtlCol="0" anchor="ctr">
            <a:spAutoFit/>
          </a:bodyPr>
          <a:lstStyle>
            <a:lvl1pPr marL="0" indent="0">
              <a:lnSpc>
                <a:spcPct val="100000"/>
              </a:lnSpc>
              <a:buNone/>
              <a:defRPr lang="en-US" sz="2000" b="1" dirty="0" smtClean="0">
                <a:solidFill>
                  <a:schemeClr val="accent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dirty="0" smtClean="0"/>
            </a:lvl4pPr>
            <a:lvl5pPr marL="1600200" indent="0">
              <a:buNone/>
              <a:defRPr lang="en-US" dirty="0"/>
            </a:lvl5pPr>
          </a:lstStyle>
          <a:p>
            <a:pPr marL="0" lvl="0"/>
            <a:r>
              <a:rPr lang="en-US" dirty="0"/>
              <a:t>Text here</a:t>
            </a:r>
          </a:p>
        </p:txBody>
      </p:sp>
      <p:sp>
        <p:nvSpPr>
          <p:cNvPr id="113" name="Text Placeholder 110">
            <a:extLst>
              <a:ext uri="{FF2B5EF4-FFF2-40B4-BE49-F238E27FC236}">
                <a16:creationId xmlns:a16="http://schemas.microsoft.com/office/drawing/2014/main" id="{A4109605-44B4-A2F4-A928-B76BCE01E8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27869" y="1826322"/>
            <a:ext cx="1843864" cy="369332"/>
          </a:xfrm>
        </p:spPr>
        <p:txBody>
          <a:bodyPr wrap="square" lIns="0" tIns="0" rIns="0" bIns="0" rtlCol="0" anchor="ctr">
            <a:spAutoFit/>
          </a:bodyPr>
          <a:lstStyle>
            <a:lvl1pPr marL="0" indent="0">
              <a:lnSpc>
                <a:spcPct val="100000"/>
              </a:lnSpc>
              <a:buNone/>
              <a:defRPr lang="en-US" sz="2400" b="1" dirty="0" smtClean="0">
                <a:solidFill>
                  <a:schemeClr val="accent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dirty="0" smtClean="0"/>
            </a:lvl4pPr>
            <a:lvl5pPr marL="1600200" indent="0">
              <a:buNone/>
              <a:defRPr lang="en-US" dirty="0"/>
            </a:lvl5pPr>
          </a:lstStyle>
          <a:p>
            <a:pPr marL="0" lvl="0"/>
            <a:r>
              <a:rPr lang="en-US" dirty="0"/>
              <a:t>Text here</a:t>
            </a:r>
          </a:p>
        </p:txBody>
      </p:sp>
      <p:sp>
        <p:nvSpPr>
          <p:cNvPr id="115" name="Chart Placeholder 114">
            <a:extLst>
              <a:ext uri="{FF2B5EF4-FFF2-40B4-BE49-F238E27FC236}">
                <a16:creationId xmlns:a16="http://schemas.microsoft.com/office/drawing/2014/main" id="{A61F49D6-6DAF-567E-E6F9-329D9F7E1A1F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260523" y="1690681"/>
            <a:ext cx="2570844" cy="20053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16" name="Chart Placeholder 114">
            <a:extLst>
              <a:ext uri="{FF2B5EF4-FFF2-40B4-BE49-F238E27FC236}">
                <a16:creationId xmlns:a16="http://schemas.microsoft.com/office/drawing/2014/main" id="{75AB2DAE-D7A8-C1CC-FB03-D13B2568BB0B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865548" y="4325244"/>
            <a:ext cx="2745691" cy="21417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17" name="Chart Placeholder 114">
            <a:extLst>
              <a:ext uri="{FF2B5EF4-FFF2-40B4-BE49-F238E27FC236}">
                <a16:creationId xmlns:a16="http://schemas.microsoft.com/office/drawing/2014/main" id="{7DE5519B-1869-E06F-AF84-4615814AA114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8133149" y="2281575"/>
            <a:ext cx="2950777" cy="26766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DF55C5B7-4ABE-95AE-4E96-BACF12E448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9914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7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988D8-C623-5C18-78A3-8D2D9A53E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35" y="921916"/>
            <a:ext cx="10272713" cy="373062"/>
          </a:xfr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0" kern="0" spc="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Text Placeholder 39">
            <a:extLst>
              <a:ext uri="{FF2B5EF4-FFF2-40B4-BE49-F238E27FC236}">
                <a16:creationId xmlns:a16="http://schemas.microsoft.com/office/drawing/2014/main" id="{F1DFE144-0F11-585E-528D-9D03AAA69F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66667" y="2529203"/>
            <a:ext cx="2333171" cy="984885"/>
          </a:xfrm>
        </p:spPr>
        <p:txBody>
          <a:bodyPr lIns="0" tIns="0" rIns="0" bIns="0">
            <a:noAutofit/>
          </a:bodyPr>
          <a:lstStyle>
            <a:lvl1pPr marL="0" indent="0" algn="l" defTabSz="1097236" rtl="0" eaLnBrk="1" latinLnBrk="0" hangingPunct="1">
              <a:buNone/>
              <a:defRPr lang="en-GB" sz="1600" b="0" i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8" name="Text Placeholder 39">
            <a:extLst>
              <a:ext uri="{FF2B5EF4-FFF2-40B4-BE49-F238E27FC236}">
                <a16:creationId xmlns:a16="http://schemas.microsoft.com/office/drawing/2014/main" id="{0F65E8D3-EBAA-50DB-D1A9-C10051A94F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8579" y="2529203"/>
            <a:ext cx="2197326" cy="984885"/>
          </a:xfrm>
        </p:spPr>
        <p:txBody>
          <a:bodyPr lIns="0" tIns="0" rIns="0" bIns="0">
            <a:noAutofit/>
          </a:bodyPr>
          <a:lstStyle>
            <a:lvl1pPr marL="0" indent="0" algn="l" defTabSz="1097236" rtl="0" eaLnBrk="1" latinLnBrk="0" hangingPunct="1">
              <a:buNone/>
              <a:defRPr lang="en-GB" sz="1600" b="0" i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ext Placeholder 39">
            <a:extLst>
              <a:ext uri="{FF2B5EF4-FFF2-40B4-BE49-F238E27FC236}">
                <a16:creationId xmlns:a16="http://schemas.microsoft.com/office/drawing/2014/main" id="{26177B21-AE02-83E9-9446-0D027D3ABF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29203"/>
            <a:ext cx="2253672" cy="984885"/>
          </a:xfrm>
        </p:spPr>
        <p:txBody>
          <a:bodyPr lIns="0" tIns="0" rIns="0" bIns="0">
            <a:noAutofit/>
          </a:bodyPr>
          <a:lstStyle>
            <a:lvl1pPr marL="0" indent="0" algn="l" defTabSz="1097236" rtl="0" eaLnBrk="1" latinLnBrk="0" hangingPunct="1">
              <a:buNone/>
              <a:defRPr lang="en-GB" sz="1600" b="0" i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9" name="Text Placeholder 39">
            <a:extLst>
              <a:ext uri="{FF2B5EF4-FFF2-40B4-BE49-F238E27FC236}">
                <a16:creationId xmlns:a16="http://schemas.microsoft.com/office/drawing/2014/main" id="{8EECA234-54DE-4225-667F-F6AC0677A8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0490" y="2529203"/>
            <a:ext cx="2333172" cy="984885"/>
          </a:xfrm>
        </p:spPr>
        <p:txBody>
          <a:bodyPr lIns="0" tIns="0" rIns="0" bIns="0">
            <a:noAutofit/>
          </a:bodyPr>
          <a:lstStyle>
            <a:lvl1pPr marL="0" indent="0" algn="l" defTabSz="1097236" rtl="0" eaLnBrk="1" latinLnBrk="0" hangingPunct="1">
              <a:buNone/>
              <a:defRPr lang="en-GB" sz="1600" b="0" i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39">
            <a:extLst>
              <a:ext uri="{FF2B5EF4-FFF2-40B4-BE49-F238E27FC236}">
                <a16:creationId xmlns:a16="http://schemas.microsoft.com/office/drawing/2014/main" id="{218F2A56-8C94-BACE-1BDA-3430F0ADFC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51740" y="4975666"/>
            <a:ext cx="2295260" cy="984884"/>
          </a:xfrm>
        </p:spPr>
        <p:txBody>
          <a:bodyPr lIns="0" tIns="0" rIns="0" bIns="0">
            <a:noAutofit/>
          </a:bodyPr>
          <a:lstStyle>
            <a:lvl1pPr marL="0" indent="0" algn="l" defTabSz="1097236" rtl="0" eaLnBrk="1" latinLnBrk="0" hangingPunct="1">
              <a:buNone/>
              <a:defRPr lang="en-GB" sz="1600" b="0" i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39">
            <a:extLst>
              <a:ext uri="{FF2B5EF4-FFF2-40B4-BE49-F238E27FC236}">
                <a16:creationId xmlns:a16="http://schemas.microsoft.com/office/drawing/2014/main" id="{3465506C-7658-DB95-4421-BCCEE289AE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58422" y="4975669"/>
            <a:ext cx="2502478" cy="984885"/>
          </a:xfrm>
        </p:spPr>
        <p:txBody>
          <a:bodyPr lIns="0" tIns="0" rIns="0" bIns="0">
            <a:noAutofit/>
          </a:bodyPr>
          <a:lstStyle>
            <a:lvl1pPr marL="0" indent="0" algn="l" defTabSz="1097236" rtl="0" eaLnBrk="1" latinLnBrk="0" hangingPunct="1">
              <a:buNone/>
              <a:defRPr lang="en-GB" sz="1600" b="0" i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39">
            <a:extLst>
              <a:ext uri="{FF2B5EF4-FFF2-40B4-BE49-F238E27FC236}">
                <a16:creationId xmlns:a16="http://schemas.microsoft.com/office/drawing/2014/main" id="{5BBD3B97-A788-652D-662E-C32773E3BA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6095" y="4975668"/>
            <a:ext cx="2333172" cy="984885"/>
          </a:xfrm>
        </p:spPr>
        <p:txBody>
          <a:bodyPr lIns="0" tIns="0" rIns="0" bIns="0">
            <a:noAutofit/>
          </a:bodyPr>
          <a:lstStyle>
            <a:lvl1pPr marL="0" indent="0" algn="l" defTabSz="1097236" rtl="0" eaLnBrk="1" latinLnBrk="0" hangingPunct="1">
              <a:buNone/>
              <a:defRPr lang="en-GB" sz="1600" b="0" i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62F6279-049C-3AF8-CC04-F7A2F48AEF58}"/>
              </a:ext>
            </a:extLst>
          </p:cNvPr>
          <p:cNvCxnSpPr>
            <a:cxnSpLocks/>
          </p:cNvCxnSpPr>
          <p:nvPr userDrawn="1"/>
        </p:nvCxnSpPr>
        <p:spPr>
          <a:xfrm>
            <a:off x="0" y="2359142"/>
            <a:ext cx="122301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FFCDFDC-28CD-80A9-65D4-C72B780F8315}"/>
              </a:ext>
            </a:extLst>
          </p:cNvPr>
          <p:cNvCxnSpPr>
            <a:cxnSpLocks/>
          </p:cNvCxnSpPr>
          <p:nvPr userDrawn="1"/>
        </p:nvCxnSpPr>
        <p:spPr>
          <a:xfrm>
            <a:off x="381000" y="2359142"/>
            <a:ext cx="476250" cy="0"/>
          </a:xfrm>
          <a:prstGeom prst="line">
            <a:avLst/>
          </a:prstGeom>
          <a:ln w="38100" cap="rnd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887F0BC-5187-B444-D684-E36C11D8DF97}"/>
              </a:ext>
            </a:extLst>
          </p:cNvPr>
          <p:cNvCxnSpPr>
            <a:cxnSpLocks/>
          </p:cNvCxnSpPr>
          <p:nvPr userDrawn="1"/>
        </p:nvCxnSpPr>
        <p:spPr>
          <a:xfrm>
            <a:off x="3266667" y="2359142"/>
            <a:ext cx="476250" cy="0"/>
          </a:xfrm>
          <a:prstGeom prst="line">
            <a:avLst/>
          </a:prstGeom>
          <a:ln w="38100" cap="rnd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35628CC-7CFE-DD13-0C02-6D20F8D8EC26}"/>
              </a:ext>
            </a:extLst>
          </p:cNvPr>
          <p:cNvCxnSpPr>
            <a:cxnSpLocks/>
          </p:cNvCxnSpPr>
          <p:nvPr userDrawn="1"/>
        </p:nvCxnSpPr>
        <p:spPr>
          <a:xfrm>
            <a:off x="6178578" y="2359142"/>
            <a:ext cx="476250" cy="0"/>
          </a:xfrm>
          <a:prstGeom prst="line">
            <a:avLst/>
          </a:prstGeom>
          <a:ln w="38100" cap="rnd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487C5BC-24A4-6ABE-BFC0-2FC4349BA38D}"/>
              </a:ext>
            </a:extLst>
          </p:cNvPr>
          <p:cNvCxnSpPr>
            <a:cxnSpLocks/>
          </p:cNvCxnSpPr>
          <p:nvPr userDrawn="1"/>
        </p:nvCxnSpPr>
        <p:spPr>
          <a:xfrm>
            <a:off x="9090489" y="2359142"/>
            <a:ext cx="476250" cy="0"/>
          </a:xfrm>
          <a:prstGeom prst="line">
            <a:avLst/>
          </a:prstGeom>
          <a:ln w="38100" cap="rnd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7F513D5-3FCD-F4D4-1B82-876877B60CA5}"/>
              </a:ext>
            </a:extLst>
          </p:cNvPr>
          <p:cNvCxnSpPr>
            <a:cxnSpLocks/>
          </p:cNvCxnSpPr>
          <p:nvPr userDrawn="1"/>
        </p:nvCxnSpPr>
        <p:spPr>
          <a:xfrm>
            <a:off x="0" y="4805607"/>
            <a:ext cx="122301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550F6F6-813C-5D21-ADBB-A76583B816FC}"/>
              </a:ext>
            </a:extLst>
          </p:cNvPr>
          <p:cNvCxnSpPr>
            <a:cxnSpLocks/>
          </p:cNvCxnSpPr>
          <p:nvPr userDrawn="1"/>
        </p:nvCxnSpPr>
        <p:spPr>
          <a:xfrm>
            <a:off x="2158422" y="4805607"/>
            <a:ext cx="476250" cy="0"/>
          </a:xfrm>
          <a:prstGeom prst="line">
            <a:avLst/>
          </a:prstGeom>
          <a:ln w="38100" cap="rnd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36C2E9F-76B3-3EE6-C6CA-44713AE8BCBA}"/>
              </a:ext>
            </a:extLst>
          </p:cNvPr>
          <p:cNvCxnSpPr>
            <a:cxnSpLocks/>
          </p:cNvCxnSpPr>
          <p:nvPr userDrawn="1"/>
        </p:nvCxnSpPr>
        <p:spPr>
          <a:xfrm>
            <a:off x="5451738" y="4805607"/>
            <a:ext cx="476250" cy="0"/>
          </a:xfrm>
          <a:prstGeom prst="line">
            <a:avLst/>
          </a:prstGeom>
          <a:ln w="38100" cap="rnd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91EEE2F-D408-7844-2D34-2A61EC0A3AC8}"/>
              </a:ext>
            </a:extLst>
          </p:cNvPr>
          <p:cNvCxnSpPr>
            <a:cxnSpLocks/>
          </p:cNvCxnSpPr>
          <p:nvPr userDrawn="1"/>
        </p:nvCxnSpPr>
        <p:spPr>
          <a:xfrm>
            <a:off x="8576093" y="4805607"/>
            <a:ext cx="476250" cy="0"/>
          </a:xfrm>
          <a:prstGeom prst="line">
            <a:avLst/>
          </a:prstGeom>
          <a:ln w="38100" cap="rnd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3869C236-D4C2-995C-D74B-029A24114A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F760E14-48B4-6F6F-4A0C-AB5BC0B736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71591" y="1728672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04066AD-0BB4-D1EE-44F5-164E2E09A20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57258" y="1724578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707F7052-09A6-7DC2-B936-B65EE03044A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78578" y="1724578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6D71C0E1-229C-4D75-56A3-6933262996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064245" y="1720484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26EC2ACA-3C0D-BBEA-E22E-A3BC566F30F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61606" y="4171042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128C90DD-6FE1-6042-48D2-886597469E0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431178" y="4171042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Picture Placeholder 16">
            <a:extLst>
              <a:ext uri="{FF2B5EF4-FFF2-40B4-BE49-F238E27FC236}">
                <a16:creationId xmlns:a16="http://schemas.microsoft.com/office/drawing/2014/main" id="{6FC39BF5-7CB3-051E-7AE3-242DE9FF0FC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572376" y="4166948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73432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C248DB9-7BA9-DA88-A1EF-632505C9E221}"/>
              </a:ext>
            </a:extLst>
          </p:cNvPr>
          <p:cNvSpPr>
            <a:spLocks/>
          </p:cNvSpPr>
          <p:nvPr userDrawn="1"/>
        </p:nvSpPr>
        <p:spPr>
          <a:xfrm flipH="1">
            <a:off x="4936394" y="2581593"/>
            <a:ext cx="5749973" cy="599444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IN" sz="1333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090B67-B046-8319-05C1-C3B275A2545B}"/>
              </a:ext>
            </a:extLst>
          </p:cNvPr>
          <p:cNvSpPr>
            <a:spLocks/>
          </p:cNvSpPr>
          <p:nvPr userDrawn="1"/>
        </p:nvSpPr>
        <p:spPr>
          <a:xfrm flipH="1">
            <a:off x="4936394" y="3451821"/>
            <a:ext cx="5749973" cy="5994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IN" sz="1333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4096C7C-EFA3-CBD6-4787-D8A619B74AF3}"/>
              </a:ext>
            </a:extLst>
          </p:cNvPr>
          <p:cNvSpPr>
            <a:spLocks/>
          </p:cNvSpPr>
          <p:nvPr userDrawn="1"/>
        </p:nvSpPr>
        <p:spPr>
          <a:xfrm flipH="1">
            <a:off x="4936394" y="4328418"/>
            <a:ext cx="5749973" cy="5994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IN" sz="1333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50B99B1-D4F7-D2B5-5154-05078DD9B856}"/>
              </a:ext>
            </a:extLst>
          </p:cNvPr>
          <p:cNvSpPr>
            <a:spLocks/>
          </p:cNvSpPr>
          <p:nvPr userDrawn="1"/>
        </p:nvSpPr>
        <p:spPr>
          <a:xfrm flipH="1">
            <a:off x="4936394" y="5210059"/>
            <a:ext cx="5749973" cy="5994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IN" sz="1333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7CB301-6BA0-D3D4-621E-CE5F6D4F1B70}"/>
              </a:ext>
            </a:extLst>
          </p:cNvPr>
          <p:cNvSpPr>
            <a:spLocks/>
          </p:cNvSpPr>
          <p:nvPr userDrawn="1"/>
        </p:nvSpPr>
        <p:spPr>
          <a:xfrm flipH="1">
            <a:off x="4936394" y="1704578"/>
            <a:ext cx="5749973" cy="5994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IN" sz="1333" dirty="0">
              <a:solidFill>
                <a:schemeClr val="bg1"/>
              </a:solidFill>
            </a:endParaRPr>
          </a:p>
        </p:txBody>
      </p:sp>
      <p:sp>
        <p:nvSpPr>
          <p:cNvPr id="2" name="Text Placeholder 38">
            <a:extLst>
              <a:ext uri="{FF2B5EF4-FFF2-40B4-BE49-F238E27FC236}">
                <a16:creationId xmlns:a16="http://schemas.microsoft.com/office/drawing/2014/main" id="{78759602-6E17-877B-B8CF-C75AF426EB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05676" y="1920034"/>
            <a:ext cx="2750766" cy="2585323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200"/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972B5E70-D8D4-D56D-BEC9-EA908A0795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26842" y="4656725"/>
            <a:ext cx="2571750" cy="46166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40201FD-D128-AF90-3796-2EA13F4940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 flipV="1">
            <a:off x="1216259" y="1494976"/>
            <a:ext cx="321578" cy="321576"/>
          </a:xfrm>
          <a:prstGeom prst="rect">
            <a:avLst/>
          </a:prstGeom>
        </p:spPr>
      </p:pic>
      <p:sp>
        <p:nvSpPr>
          <p:cNvPr id="44" name="Text Placeholder 38">
            <a:extLst>
              <a:ext uri="{FF2B5EF4-FFF2-40B4-BE49-F238E27FC236}">
                <a16:creationId xmlns:a16="http://schemas.microsoft.com/office/drawing/2014/main" id="{E18867BC-17F8-67DE-B8CA-1817E84AC5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1883728"/>
            <a:ext cx="4445000" cy="24114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5" name="Text Placeholder 38">
            <a:extLst>
              <a:ext uri="{FF2B5EF4-FFF2-40B4-BE49-F238E27FC236}">
                <a16:creationId xmlns:a16="http://schemas.microsoft.com/office/drawing/2014/main" id="{0346D573-0A96-C6FE-969B-FA57AFE2CDF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2760743"/>
            <a:ext cx="4445000" cy="24114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6" name="Text Placeholder 38">
            <a:extLst>
              <a:ext uri="{FF2B5EF4-FFF2-40B4-BE49-F238E27FC236}">
                <a16:creationId xmlns:a16="http://schemas.microsoft.com/office/drawing/2014/main" id="{6B6FEF49-7A22-D00C-A22B-1DA3F742661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0" y="3630971"/>
            <a:ext cx="4445000" cy="24114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7" name="Text Placeholder 38">
            <a:extLst>
              <a:ext uri="{FF2B5EF4-FFF2-40B4-BE49-F238E27FC236}">
                <a16:creationId xmlns:a16="http://schemas.microsoft.com/office/drawing/2014/main" id="{72D68786-E03F-C84D-C67C-30DAA22F475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6000" y="4507568"/>
            <a:ext cx="4445000" cy="24114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8" name="Text Placeholder 38">
            <a:extLst>
              <a:ext uri="{FF2B5EF4-FFF2-40B4-BE49-F238E27FC236}">
                <a16:creationId xmlns:a16="http://schemas.microsoft.com/office/drawing/2014/main" id="{652EE2E0-101C-DE23-CC72-98B6AB6D76E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0" y="5389209"/>
            <a:ext cx="4445000" cy="24114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38C43A76-1C7E-FF6A-5CFB-98C6BCFA1A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9E1B3D43-5A98-69B5-9131-80F54746C6C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256641" y="1753452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69F36A10-14ED-E740-AA8C-4337AA8EAE3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5256641" y="2621758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BB4F75D3-FC5C-0FD3-F865-2E2CF42330E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256641" y="3484901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A8CC827D-0327-168E-6AC3-80A91602A64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5256641" y="4361916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6">
            <a:extLst>
              <a:ext uri="{FF2B5EF4-FFF2-40B4-BE49-F238E27FC236}">
                <a16:creationId xmlns:a16="http://schemas.microsoft.com/office/drawing/2014/main" id="{CB2729A6-2F61-FDC4-DDAD-B01049B32BE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256641" y="5250224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04964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8" name="Text Placeholder 38">
            <a:extLst>
              <a:ext uri="{FF2B5EF4-FFF2-40B4-BE49-F238E27FC236}">
                <a16:creationId xmlns:a16="http://schemas.microsoft.com/office/drawing/2014/main" id="{9D8D3E07-2787-9455-981B-0C09632274E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64190" y="2681098"/>
            <a:ext cx="3019667" cy="984885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buClr>
                <a:schemeClr val="accent3"/>
              </a:buClr>
              <a:buFont typeface="Wingdings" panose="05000000000000000000" pitchFamily="2" charset="2"/>
              <a:buNone/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8762E86E-07DB-98E2-E1A0-0D8F7C300A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64190" y="3788225"/>
            <a:ext cx="3579374" cy="4269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26D2FF36-7736-1D37-CC12-085AFC62B6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64190" y="4319448"/>
            <a:ext cx="3579374" cy="4269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16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F96AD9B5-AA84-84E4-17EB-F094FE1C5F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64190" y="4850671"/>
            <a:ext cx="3579374" cy="4269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1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EA4CED24-3ED0-402A-8864-80F0D1AE85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64190" y="5381894"/>
            <a:ext cx="3579374" cy="426936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16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0A73011F-46ED-3956-8ED8-7FD30E9B0F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92858F29-AE3C-CDC9-6DAB-6D3E9F4736F6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181123" y="1661659"/>
            <a:ext cx="1271058" cy="846528"/>
          </a:xfrm>
        </p:spPr>
        <p:txBody>
          <a:bodyPr>
            <a:noAutofit/>
          </a:bodyPr>
          <a:lstStyle>
            <a:lvl1pPr marL="0" indent="0">
              <a:buNone/>
              <a:defRPr sz="7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4">
            <a:extLst>
              <a:ext uri="{FF2B5EF4-FFF2-40B4-BE49-F238E27FC236}">
                <a16:creationId xmlns:a16="http://schemas.microsoft.com/office/drawing/2014/main" id="{D980DD67-F891-4A7C-9520-3AC39F9347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48841" y="1661659"/>
            <a:ext cx="5863388" cy="4147171"/>
          </a:xfrm>
          <a:prstGeom prst="roundRect">
            <a:avLst>
              <a:gd name="adj" fmla="val 4269"/>
            </a:avLst>
          </a:prstGeom>
          <a:effectLst>
            <a:outerShdw blurRad="369316" dist="110490" dir="9000000" sx="99000" sy="99000" algn="ctr" rotWithShape="0">
              <a:srgbClr val="000000">
                <a:alpha val="41000"/>
              </a:srgbClr>
            </a:outerShdw>
          </a:effectLst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7990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7278037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CBB7F1-F2F5-37C0-AEA0-A35C5DAAD763}"/>
              </a:ext>
            </a:extLst>
          </p:cNvPr>
          <p:cNvSpPr/>
          <p:nvPr userDrawn="1"/>
        </p:nvSpPr>
        <p:spPr>
          <a:xfrm>
            <a:off x="977178" y="3167397"/>
            <a:ext cx="1919366" cy="10926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27CB40-FA86-596D-3FE0-DB0D8E6D03A5}"/>
              </a:ext>
            </a:extLst>
          </p:cNvPr>
          <p:cNvSpPr/>
          <p:nvPr userDrawn="1"/>
        </p:nvSpPr>
        <p:spPr>
          <a:xfrm>
            <a:off x="955680" y="4681539"/>
            <a:ext cx="1919366" cy="10598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09CF29E-BCE1-DCD4-262D-9DEBF93C6AA4}"/>
              </a:ext>
            </a:extLst>
          </p:cNvPr>
          <p:cNvSpPr/>
          <p:nvPr userDrawn="1"/>
        </p:nvSpPr>
        <p:spPr>
          <a:xfrm>
            <a:off x="977178" y="1649997"/>
            <a:ext cx="1919366" cy="10598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2EF6738F-9F94-88F7-02D3-08D1BD4C6D4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74391" y="1649999"/>
            <a:ext cx="4501663" cy="1092607"/>
          </a:xfrm>
        </p:spPr>
        <p:txBody>
          <a:bodyPr>
            <a:normAutofit/>
          </a:bodyPr>
          <a:lstStyle>
            <a:lvl1pPr marL="285750" indent="-285750">
              <a:buClr>
                <a:schemeClr val="accent4"/>
              </a:buClr>
              <a:buFont typeface="Wingdings" panose="05000000000000000000" pitchFamily="2" charset="2"/>
              <a:buChar char="§"/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CF6A792-B58B-E5CE-1DEB-8E84B51C3F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423" y="1764434"/>
            <a:ext cx="1688878" cy="830997"/>
          </a:xfrm>
        </p:spPr>
        <p:txBody>
          <a:bodyPr lIns="0" tIns="0" rIns="0" bIns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E8A3B23-B403-3841-0B9B-9D9BB46293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1260" y="4799632"/>
            <a:ext cx="1688878" cy="830997"/>
          </a:xfrm>
        </p:spPr>
        <p:txBody>
          <a:bodyPr lIns="0" tIns="0" rIns="0" bIns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78FDBB1-7C49-291C-AF9A-CD0453AF23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2423" y="3298202"/>
            <a:ext cx="1688878" cy="830997"/>
          </a:xfrm>
        </p:spPr>
        <p:txBody>
          <a:bodyPr lIns="0" tIns="0" rIns="0" bIns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E20193B0-73A4-58B4-581E-C604ACDBD8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74391" y="3167397"/>
            <a:ext cx="4501663" cy="1092607"/>
          </a:xfrm>
        </p:spPr>
        <p:txBody>
          <a:bodyPr>
            <a:normAutofit/>
          </a:bodyPr>
          <a:lstStyle>
            <a:lvl1pPr marL="285750" indent="-285750">
              <a:buClr>
                <a:schemeClr val="accent4"/>
              </a:buClr>
              <a:buFont typeface="Wingdings" panose="05000000000000000000" pitchFamily="2" charset="2"/>
              <a:buChar char="§"/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5561CBDF-275D-5477-C6CE-BF408404CC3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66094" y="4830410"/>
            <a:ext cx="4501663" cy="800219"/>
          </a:xfrm>
        </p:spPr>
        <p:txBody>
          <a:bodyPr>
            <a:normAutofit/>
          </a:bodyPr>
          <a:lstStyle>
            <a:lvl1pPr marL="285750" indent="-285750">
              <a:buClr>
                <a:schemeClr val="accent4"/>
              </a:buClr>
              <a:buFont typeface="Wingdings" panose="05000000000000000000" pitchFamily="2" charset="2"/>
              <a:buChar char="§"/>
              <a:defRPr sz="16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07E33FD-E317-CB49-F8AF-20B42927779D}"/>
              </a:ext>
            </a:extLst>
          </p:cNvPr>
          <p:cNvCxnSpPr>
            <a:cxnSpLocks/>
          </p:cNvCxnSpPr>
          <p:nvPr userDrawn="1"/>
        </p:nvCxnSpPr>
        <p:spPr>
          <a:xfrm flipH="1">
            <a:off x="3166094" y="2942005"/>
            <a:ext cx="445008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>
                <a:lumMod val="50000"/>
              </a:schemeClr>
            </a:solidFill>
            <a:prstDash val="dash"/>
            <a:round/>
            <a:headEnd type="none" w="med" len="med"/>
            <a:tailEnd type="none" w="med" len="sm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A3C6C46-D474-FA76-16EA-4C1BD9327438}"/>
              </a:ext>
            </a:extLst>
          </p:cNvPr>
          <p:cNvCxnSpPr>
            <a:cxnSpLocks/>
          </p:cNvCxnSpPr>
          <p:nvPr userDrawn="1"/>
        </p:nvCxnSpPr>
        <p:spPr>
          <a:xfrm flipH="1">
            <a:off x="3166094" y="4521824"/>
            <a:ext cx="445008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>
                <a:lumMod val="50000"/>
              </a:schemeClr>
            </a:solidFill>
            <a:prstDash val="dash"/>
            <a:round/>
            <a:headEnd type="none" w="med" len="med"/>
            <a:tailEnd type="none" w="med" len="sm"/>
          </a:ln>
          <a:effectLst/>
        </p:spPr>
      </p:cxnSp>
      <p:pic>
        <p:nvPicPr>
          <p:cNvPr id="8" name="Picture 7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810CC9B8-2F04-E98C-2EA7-8CE550CA15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4" name="Picture Placeholder 27">
            <a:extLst>
              <a:ext uri="{FF2B5EF4-FFF2-40B4-BE49-F238E27FC236}">
                <a16:creationId xmlns:a16="http://schemas.microsoft.com/office/drawing/2014/main" id="{86B29726-C6B1-A7CA-28BB-BED71EE8EF3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65067" y="0"/>
            <a:ext cx="3825430" cy="685799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52577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A3B221F-85BC-5CFB-63F1-035BC97958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946B761-EC61-9C0C-F0CD-10BA7927DD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1761" y="5120878"/>
            <a:ext cx="5700330" cy="615553"/>
          </a:xfrm>
        </p:spPr>
        <p:txBody>
          <a:bodyPr lIns="0" tIns="0" rIns="0" bIns="0" anchor="b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405C62B2-78A3-5F95-B8B2-CDDEE5BE69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1761" y="5828195"/>
            <a:ext cx="5700330" cy="485197"/>
          </a:xfrm>
        </p:spPr>
        <p:txBody>
          <a:bodyPr lIns="0" tIns="0" rIns="0" bIns="0" anchor="t">
            <a:noAutofit/>
          </a:bodyPr>
          <a:lstStyle>
            <a:lvl1pPr marL="12699" indent="0" algn="l" defTabSz="914400" rtl="0" eaLnBrk="0" fontAlgn="base" latinLnBrk="0" hangingPunct="0">
              <a:lnSpc>
                <a:spcPts val="416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2731661" algn="l"/>
              </a:tabLst>
              <a:defRPr lang="en-GB" sz="2400" kern="1200" spc="250" baseline="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2" name="Picture 1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1D076FB0-B572-C0F7-9F98-FFF5DA5868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1761" y="544608"/>
            <a:ext cx="2566002" cy="1518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3229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7278037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CBB7F1-F2F5-37C0-AEA0-A35C5DAAD763}"/>
              </a:ext>
            </a:extLst>
          </p:cNvPr>
          <p:cNvSpPr/>
          <p:nvPr userDrawn="1"/>
        </p:nvSpPr>
        <p:spPr>
          <a:xfrm>
            <a:off x="824778" y="2066755"/>
            <a:ext cx="1919366" cy="10926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27CB40-FA86-596D-3FE0-DB0D8E6D03A5}"/>
              </a:ext>
            </a:extLst>
          </p:cNvPr>
          <p:cNvSpPr/>
          <p:nvPr userDrawn="1"/>
        </p:nvSpPr>
        <p:spPr>
          <a:xfrm>
            <a:off x="803280" y="3845220"/>
            <a:ext cx="1919366" cy="10598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E8A3B23-B403-3841-0B9B-9D9BB46293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8860" y="3963313"/>
            <a:ext cx="1688878" cy="830997"/>
          </a:xfrm>
        </p:spPr>
        <p:txBody>
          <a:bodyPr lIns="0" tIns="0" rIns="0" bIns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78FDBB1-7C49-291C-AF9A-CD0453AF23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0023" y="2197560"/>
            <a:ext cx="1688878" cy="830997"/>
          </a:xfrm>
        </p:spPr>
        <p:txBody>
          <a:bodyPr lIns="0" tIns="0" rIns="0" bIns="0" anchor="ctr"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E20193B0-73A4-58B4-581E-C604ACDBD8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21991" y="2066755"/>
            <a:ext cx="4441782" cy="1362245"/>
          </a:xfrm>
        </p:spPr>
        <p:txBody>
          <a:bodyPr>
            <a:normAutofit/>
          </a:bodyPr>
          <a:lstStyle>
            <a:lvl1pPr marL="285750" indent="-285750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5561CBDF-275D-5477-C6CE-BF408404CC3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21990" y="3845220"/>
            <a:ext cx="4441783" cy="1370087"/>
          </a:xfrm>
        </p:spPr>
        <p:txBody>
          <a:bodyPr>
            <a:normAutofit/>
          </a:bodyPr>
          <a:lstStyle>
            <a:lvl1pPr marL="285750" indent="-285750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A3C6C46-D474-FA76-16EA-4C1BD9327438}"/>
              </a:ext>
            </a:extLst>
          </p:cNvPr>
          <p:cNvCxnSpPr>
            <a:cxnSpLocks/>
          </p:cNvCxnSpPr>
          <p:nvPr userDrawn="1"/>
        </p:nvCxnSpPr>
        <p:spPr>
          <a:xfrm flipH="1">
            <a:off x="3021990" y="3620579"/>
            <a:ext cx="444178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>
                <a:lumMod val="50000"/>
              </a:schemeClr>
            </a:solidFill>
            <a:prstDash val="dash"/>
            <a:round/>
            <a:headEnd type="none" w="med" len="med"/>
            <a:tailEnd type="none" w="med" len="sm"/>
          </a:ln>
          <a:effectLst/>
        </p:spPr>
      </p:cxnSp>
      <p:pic>
        <p:nvPicPr>
          <p:cNvPr id="6" name="Picture 5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8C443CCF-5ED6-4E8D-08F6-70D9CB950A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2" name="Picture Placeholder 34">
            <a:extLst>
              <a:ext uri="{FF2B5EF4-FFF2-40B4-BE49-F238E27FC236}">
                <a16:creationId xmlns:a16="http://schemas.microsoft.com/office/drawing/2014/main" id="{9F21A5DB-9583-68C4-6057-BC95573E81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907864" y="1375973"/>
            <a:ext cx="3391695" cy="4938493"/>
          </a:xfrm>
          <a:prstGeom prst="roundRect">
            <a:avLst>
              <a:gd name="adj" fmla="val 4269"/>
            </a:avLst>
          </a:prstGeom>
          <a:effectLst>
            <a:outerShdw blurRad="369316" dist="110490" dir="9000000" sx="99000" sy="99000" algn="ctr" rotWithShape="0">
              <a:srgbClr val="000000">
                <a:alpha val="41000"/>
              </a:srgbClr>
            </a:outerShdw>
          </a:effectLst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17082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women looking at a computer screen&#10;&#10;AI-generated content may be incorrect.">
            <a:extLst>
              <a:ext uri="{FF2B5EF4-FFF2-40B4-BE49-F238E27FC236}">
                <a16:creationId xmlns:a16="http://schemas.microsoft.com/office/drawing/2014/main" id="{B579D4CC-DBE3-3AF3-F2BD-4E0377D984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27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B465B3B-878A-1E29-10AF-828F04FC231D}"/>
              </a:ext>
            </a:extLst>
          </p:cNvPr>
          <p:cNvSpPr/>
          <p:nvPr userDrawn="1"/>
        </p:nvSpPr>
        <p:spPr>
          <a:xfrm rot="5400000">
            <a:off x="818058" y="-818057"/>
            <a:ext cx="6857999" cy="849411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"/>
                  <a:lumOff val="95000"/>
                  <a:alpha val="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9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D8EC778-74D7-8C3F-62CC-2368AE1E99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6053" y="1634091"/>
            <a:ext cx="4622248" cy="426936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20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: Top Corners Rounded 5">
            <a:extLst>
              <a:ext uri="{FF2B5EF4-FFF2-40B4-BE49-F238E27FC236}">
                <a16:creationId xmlns:a16="http://schemas.microsoft.com/office/drawing/2014/main" id="{DAEEF896-1F28-C7D1-04DE-9CA8B0E5DC8E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289368"/>
            <a:ext cx="8705504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988D8-C623-5C18-78A3-8D2D9A53E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36" y="921916"/>
            <a:ext cx="6921308" cy="373062"/>
          </a:xfr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b="0" kern="0" spc="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F4676656-F7D0-A6A2-184F-BD4A97081D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053" y="2165314"/>
            <a:ext cx="4622248" cy="426936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20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58D5B40D-72A9-5FA5-B201-A603618A17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6053" y="2696537"/>
            <a:ext cx="4622248" cy="426936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20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E65C9D19-2CB0-7837-7F43-8BB5A80502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6053" y="3227760"/>
            <a:ext cx="4622248" cy="426936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20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2D47B07B-B751-1716-7363-7C9E7E70C0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6053" y="3758983"/>
            <a:ext cx="4622248" cy="426936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20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6534F7C-1C5F-3F0D-4738-2E95B85BBB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6053" y="4290206"/>
            <a:ext cx="4622248" cy="426936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2000" b="1">
                <a:solidFill>
                  <a:schemeClr val="accent3"/>
                </a:solidFill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None/>
              <a:defRPr sz="2000" b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2279AC75-E4F0-AF39-A0D9-7FFB781D2B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45818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3988D8-C623-5C18-78A3-8D2D9A53E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35" y="921916"/>
            <a:ext cx="10272713" cy="373062"/>
          </a:xfr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1800" b="0" kern="0" spc="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927BCB07-7852-43C1-691C-0699990E930D}"/>
              </a:ext>
            </a:extLst>
          </p:cNvPr>
          <p:cNvSpPr/>
          <p:nvPr userDrawn="1"/>
        </p:nvSpPr>
        <p:spPr>
          <a:xfrm flipH="1">
            <a:off x="6085607" y="1551101"/>
            <a:ext cx="5274821" cy="4527581"/>
          </a:xfrm>
          <a:prstGeom prst="round1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IN" sz="1333" dirty="0">
              <a:solidFill>
                <a:schemeClr val="bg1"/>
              </a:solidFill>
            </a:endParaRPr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1540B343-F5C3-43B8-EE23-03E74D95C9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72698" y="1833933"/>
            <a:ext cx="4743542" cy="551646"/>
          </a:xfrm>
          <a:solidFill>
            <a:schemeClr val="accent2"/>
          </a:solidFill>
        </p:spPr>
        <p:txBody>
          <a:bodyPr lIns="91440" tIns="45720" rIns="91440" bIns="45720" anchor="ctr"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0B55D6-B984-C590-B3AD-E449717EE89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7101554" y="5113182"/>
            <a:ext cx="40146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sm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2243700-E2DD-A80F-5C13-E28C80FFFEB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7101554" y="4227794"/>
            <a:ext cx="40146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sm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646C30-3AA6-0876-B7DB-2BF9EE5D128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7101554" y="3342406"/>
            <a:ext cx="40146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sm"/>
          </a:ln>
          <a:effectLst/>
        </p:spPr>
      </p:cxn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F396CBDA-5D9B-4592-F575-C3F21846DB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01554" y="2680421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C9241DF5-296D-2ABF-6F54-424CBB0524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01554" y="2937332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DB576195-09A7-8170-9469-5B970B7E4C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01554" y="3565809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FF144D75-A0DA-F261-6204-2D5C72638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01554" y="3822720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A2E3AF6B-FB6C-80EA-FEC8-B89D9A06B7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01554" y="4451197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8E69E7F8-3790-E8E1-CFB0-C16BD35051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01554" y="4708108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4F2A0571-299F-CF06-9B7E-7C9FF0E052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01554" y="5336585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4583EDF0-5EF4-091B-4DF8-8CB0A3890A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1554" y="5593496"/>
            <a:ext cx="4003573" cy="18167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AE747C10-A778-D13A-B15F-37737931B6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464" name="Picture Placeholder 27">
            <a:extLst>
              <a:ext uri="{FF2B5EF4-FFF2-40B4-BE49-F238E27FC236}">
                <a16:creationId xmlns:a16="http://schemas.microsoft.com/office/drawing/2014/main" id="{D55A44AA-CF5C-BFE8-01CE-FE1C44DCBDF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1572" y="1571741"/>
            <a:ext cx="5110489" cy="452758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EEE23F9A-3475-EB58-F68F-840EFA8E04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438896" y="2639718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630AADB9-380C-21AC-B57C-9A09BCA6254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438896" y="3518709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011431C7-D9E1-19BE-C30E-B21C5E8568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438896" y="4407292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16">
            <a:extLst>
              <a:ext uri="{FF2B5EF4-FFF2-40B4-BE49-F238E27FC236}">
                <a16:creationId xmlns:a16="http://schemas.microsoft.com/office/drawing/2014/main" id="{18DB88A6-760A-FD26-5E21-21B9BB01595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38896" y="5298809"/>
            <a:ext cx="519112" cy="51911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08204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99C6A46-9057-22E6-E30E-99C33C6EA8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58F6F9A3-2C50-B561-4BCA-963CFECB19CC}"/>
              </a:ext>
            </a:extLst>
          </p:cNvPr>
          <p:cNvSpPr/>
          <p:nvPr userDrawn="1"/>
        </p:nvSpPr>
        <p:spPr>
          <a:xfrm>
            <a:off x="0" y="5633885"/>
            <a:ext cx="12192000" cy="12241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3357">
              <a:spcAft>
                <a:spcPts val="150"/>
              </a:spcAft>
              <a:defRPr/>
            </a:pPr>
            <a:endParaRPr lang="en-US" sz="1600" dirty="0">
              <a:ln/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C7FD474-E251-B828-12ED-753A616EFE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2543" y="6030499"/>
            <a:ext cx="3960421" cy="430887"/>
          </a:xfrm>
        </p:spPr>
        <p:txBody>
          <a:bodyPr lIns="0" tIns="0" rIns="0" bIns="0" anchor="ctr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2731661" algn="l"/>
              </a:tabLst>
              <a:defRPr lang="en-GB" sz="1400" kern="1200" spc="250" baseline="0" dirty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E40A3E4-683E-C350-85D7-E48BD2F9EA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38" y="5938166"/>
            <a:ext cx="4661192" cy="615553"/>
          </a:xfrm>
        </p:spPr>
        <p:txBody>
          <a:bodyPr lIns="0" tIns="0" rIns="0" bIns="0" anchor="ctr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304D4F47-4129-C461-1794-DCABE43889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8750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E006BCE-2DE3-0623-7BBC-60C4230733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3B7A28-6D3F-9EE5-0F67-8C2BA36721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82465" y="532812"/>
            <a:ext cx="4661192" cy="615553"/>
          </a:xfrm>
        </p:spPr>
        <p:txBody>
          <a:bodyPr lIns="0" tIns="0" rIns="0" bIns="0" anchor="ctr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2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3" name="Picture 2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150AB51F-D178-BC72-036C-BEE61BED2E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8343" y="247312"/>
            <a:ext cx="1782167" cy="1089220"/>
          </a:xfrm>
          <a:prstGeom prst="rect">
            <a:avLst/>
          </a:prstGeom>
        </p:spPr>
      </p:pic>
      <p:pic>
        <p:nvPicPr>
          <p:cNvPr id="2" name="Picture 1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E8B4B4AD-4278-4834-9D83-7DD63E3057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196466"/>
      </p:ext>
    </p:extLst>
  </p:cSld>
  <p:clrMapOvr>
    <a:masterClrMapping/>
  </p:clrMapOvr>
  <p:transition>
    <p:fade/>
  </p:transition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17096" y="974042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333" b="0" i="0" baseline="0">
                <a:solidFill>
                  <a:schemeClr val="bg1">
                    <a:lumMod val="50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55" indent="0">
              <a:buNone/>
              <a:defRPr sz="1600"/>
            </a:lvl2pPr>
            <a:lvl3pPr marL="1219108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6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517096" y="376818"/>
            <a:ext cx="11157817" cy="54594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06035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02CF50CF-32E7-BF4E-E47F-CC07DFDDE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4297362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4" name="Rectangle: Top Corners Rounded 5">
            <a:extLst>
              <a:ext uri="{FF2B5EF4-FFF2-40B4-BE49-F238E27FC236}">
                <a16:creationId xmlns:a16="http://schemas.microsoft.com/office/drawing/2014/main" id="{80442E56-6848-E1E0-8A8A-B2E244D1939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5" name="Picture 4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C02B05E6-3101-FCF3-DD57-850D4B65B4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F0B7-BF92-3E58-1B02-75FE4E38BD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0838" y="1460500"/>
            <a:ext cx="4297362" cy="489743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663569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 Alterna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5">
            <a:extLst>
              <a:ext uri="{FF2B5EF4-FFF2-40B4-BE49-F238E27FC236}">
                <a16:creationId xmlns:a16="http://schemas.microsoft.com/office/drawing/2014/main" id="{80442E56-6848-E1E0-8A8A-B2E244D1939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5" name="Picture 4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C02B05E6-3101-FCF3-DD57-850D4B65B4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A2C4F492-E546-732A-2370-E5A610967E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38" name="Picture Placeholder 18">
            <a:extLst>
              <a:ext uri="{FF2B5EF4-FFF2-40B4-BE49-F238E27FC236}">
                <a16:creationId xmlns:a16="http://schemas.microsoft.com/office/drawing/2014/main" id="{5F5577BE-40D3-8A4F-F28C-146ECC3501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81900" y="1460500"/>
            <a:ext cx="4610100" cy="489743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56EB069A-7D6C-29B3-8E2B-88CCEF62E3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3509" y="2146299"/>
            <a:ext cx="3409791" cy="1671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AD6C66B2-931E-0886-EABE-A689D0EAC7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43509" y="1460500"/>
            <a:ext cx="3409791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287CC904-A5F3-A908-F8A9-619AA1490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0838" y="4686458"/>
            <a:ext cx="3409791" cy="1671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16FDC622-C477-24B1-FEA1-24F595BAF7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0838" y="4000659"/>
            <a:ext cx="3409791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54EB300-ADCD-92E1-4476-E70CF21A81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43509" y="4686458"/>
            <a:ext cx="3409791" cy="1671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8F44A6AD-17DE-7BDF-8D50-C8888586C2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43509" y="4000659"/>
            <a:ext cx="3409791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6823AD0-13AC-0EF6-BF07-7472ADC101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0838" y="2146300"/>
            <a:ext cx="3409791" cy="16714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F0B7-BF92-3E58-1B02-75FE4E38BD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0838" y="1460501"/>
            <a:ext cx="3409791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032737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A58DA5F-14C5-0C62-BF73-186EAF1A6A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33439" y="2146300"/>
            <a:ext cx="3712422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F4F7C13-5255-EB35-56D6-1C08FE2AB7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3439" y="1460501"/>
            <a:ext cx="3712422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B657CC5B-8D25-05FE-D793-AE151796BA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8740" y="2146300"/>
            <a:ext cx="3712422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6B5DFBA5-48E2-B22C-DBF6-75AAC4372E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8740" y="1460501"/>
            <a:ext cx="3712422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08E2E50-91D9-532C-B97A-68E4A9A765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137" y="2146300"/>
            <a:ext cx="3712422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D793926-F013-9328-D661-7D26E677CC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7" y="1460501"/>
            <a:ext cx="3712422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Rectangle: Top Corners Rounded 5">
            <a:extLst>
              <a:ext uri="{FF2B5EF4-FFF2-40B4-BE49-F238E27FC236}">
                <a16:creationId xmlns:a16="http://schemas.microsoft.com/office/drawing/2014/main" id="{80442E56-6848-E1E0-8A8A-B2E244D1939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5" name="Picture 4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C02B05E6-3101-FCF3-DD57-850D4B65B4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A2C4F492-E546-732A-2370-E5A610967E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3072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7" name="Picture 6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BDE08DD9-0AA0-A2DA-50E9-F93EA031C6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CEBB00-D34D-46BC-364B-84476FF0D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39" y="1460500"/>
            <a:ext cx="11503024" cy="489743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7360433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>
            <a:hlinkClick r:id="" action="ppaction://noaction"/>
            <a:extLst>
              <a:ext uri="{FF2B5EF4-FFF2-40B4-BE49-F238E27FC236}">
                <a16:creationId xmlns:a16="http://schemas.microsoft.com/office/drawing/2014/main" id="{09AD22E4-2356-4400-9EB4-2E1ABB6EE319}"/>
              </a:ext>
            </a:extLst>
          </p:cNvPr>
          <p:cNvSpPr/>
          <p:nvPr userDrawn="1"/>
        </p:nvSpPr>
        <p:spPr>
          <a:xfrm>
            <a:off x="584081" y="3230400"/>
            <a:ext cx="5226465" cy="1446664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3357">
              <a:spcAft>
                <a:spcPts val="150"/>
              </a:spcAft>
              <a:defRPr/>
            </a:pPr>
            <a:endParaRPr lang="en-US" sz="1600" dirty="0">
              <a:ln/>
              <a:solidFill>
                <a:schemeClr val="accent1"/>
              </a:solidFill>
              <a:cs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7DEFFD3-70C1-3F4C-4F30-F630F992C7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22575" y="0"/>
            <a:ext cx="6969425" cy="6858000"/>
          </a:xfrm>
          <a:custGeom>
            <a:avLst/>
            <a:gdLst>
              <a:gd name="connsiteX0" fmla="*/ 1216327 w 6969425"/>
              <a:gd name="connsiteY0" fmla="*/ 0 h 6858000"/>
              <a:gd name="connsiteX1" fmla="*/ 6969425 w 6969425"/>
              <a:gd name="connsiteY1" fmla="*/ 0 h 6858000"/>
              <a:gd name="connsiteX2" fmla="*/ 6969425 w 6969425"/>
              <a:gd name="connsiteY2" fmla="*/ 6858000 h 6858000"/>
              <a:gd name="connsiteX3" fmla="*/ 1469379 w 6969425"/>
              <a:gd name="connsiteY3" fmla="*/ 6858000 h 6858000"/>
              <a:gd name="connsiteX4" fmla="*/ 1321540 w 6969425"/>
              <a:gd name="connsiteY4" fmla="*/ 6703245 h 6858000"/>
              <a:gd name="connsiteX5" fmla="*/ 0 w 6969425"/>
              <a:gd name="connsiteY5" fmla="*/ 3292025 h 6858000"/>
              <a:gd name="connsiteX6" fmla="*/ 1216327 w 696942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69425" h="6858000">
                <a:moveTo>
                  <a:pt x="1216327" y="0"/>
                </a:moveTo>
                <a:lnTo>
                  <a:pt x="6969425" y="0"/>
                </a:lnTo>
                <a:lnTo>
                  <a:pt x="6969425" y="6858000"/>
                </a:lnTo>
                <a:lnTo>
                  <a:pt x="1469379" y="6858000"/>
                </a:lnTo>
                <a:lnTo>
                  <a:pt x="1321540" y="6703245"/>
                </a:lnTo>
                <a:cubicBezTo>
                  <a:pt x="500123" y="5801358"/>
                  <a:pt x="0" y="4604915"/>
                  <a:pt x="0" y="3292025"/>
                </a:cubicBezTo>
                <a:cubicBezTo>
                  <a:pt x="0" y="2036199"/>
                  <a:pt x="457672" y="886920"/>
                  <a:pt x="1216327" y="0"/>
                </a:cubicBezTo>
                <a:close/>
              </a:path>
            </a:pathLst>
          </a:custGeom>
        </p:spPr>
      </p:pic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068635A-5401-8398-9419-4B9949F9D4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2603" y="3550920"/>
            <a:ext cx="3960421" cy="776978"/>
          </a:xfrm>
        </p:spPr>
        <p:txBody>
          <a:bodyPr lIns="0" tIns="0" rIns="0" bIns="0" anchor="ctr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32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74D1448-6E71-C733-25E4-FA05632515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5233" y="4715366"/>
            <a:ext cx="3960421" cy="471668"/>
          </a:xfrm>
        </p:spPr>
        <p:txBody>
          <a:bodyPr lIns="0" tIns="0" rIns="0" bIns="0" anchor="b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2731661" algn="l"/>
              </a:tabLst>
              <a:defRPr lang="en-GB" sz="2000" kern="1200" spc="250" baseline="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E2ED4D39-4CCD-1C14-C155-CBE695FDB7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4081" y="402843"/>
            <a:ext cx="1853370" cy="113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2682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7" name="Picture 6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BDE08DD9-0AA0-A2DA-50E9-F93EA031C6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B1F37F47-F6CA-4800-7A4E-FBCF94BE3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anchor="ctr">
            <a:norm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MELINE</a:t>
            </a:r>
          </a:p>
        </p:txBody>
      </p:sp>
      <p:graphicFrame>
        <p:nvGraphicFramePr>
          <p:cNvPr id="4" name="Diagram 3" descr="Basic Timeline">
            <a:extLst>
              <a:ext uri="{FF2B5EF4-FFF2-40B4-BE49-F238E27FC236}">
                <a16:creationId xmlns:a16="http://schemas.microsoft.com/office/drawing/2014/main" id="{7A6AB410-60ED-92FF-464A-54C909C389A7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40675020"/>
              </p:ext>
              <p:ext uri="{E7BDC344-281C-4309-B0C6-D0EE65EED2A8}">
                <p202:designPr xmlns:p202="http://schemas.microsoft.com/office/powerpoint/2020/02/main">
                  <p202:designTagLst>
                    <p202:designTag name="ARCH:1:CLS" val="SmartArt"/>
                    <p202:designTag name="ARCH:1:VSVAR" val="Timeline"/>
                  </p202:designTagLst>
                </p202:designPr>
              </p:ext>
            </p:extLst>
          </p:nvPr>
        </p:nvGraphicFramePr>
        <p:xfrm>
          <a:off x="338136" y="1280026"/>
          <a:ext cx="11515727" cy="4897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545853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DE5753B-E0FD-F183-95E0-2733D45F2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139" y="2146300"/>
            <a:ext cx="2738596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145E1F9-F4A3-BD98-AB72-3A380E6C94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9" y="1460501"/>
            <a:ext cx="2738596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0AD474F-97DD-242B-5EC1-2EE4EFD7C9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59615" y="2146300"/>
            <a:ext cx="2738596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D56E9458-08CC-FBBC-74FB-CDD49575D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9615" y="1460501"/>
            <a:ext cx="2738596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71462FAF-454B-CC0D-92F9-952F2B6F6E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1091" y="2146300"/>
            <a:ext cx="2738596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2DE5152-78E9-C4F6-86A2-A09AEBA2A5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2567" y="2146300"/>
            <a:ext cx="2738596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7" name="Picture 6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BDE08DD9-0AA0-A2DA-50E9-F93EA031C6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F695A7E3-85CA-F7D5-697F-05252515B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1091" y="1460501"/>
            <a:ext cx="2738596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D67A4D5D-B0BC-CE2F-75CE-B158EC2F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02567" y="1460501"/>
            <a:ext cx="2738596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6784823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26756CD-27BA-85FE-CA67-851CD98907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0285" y="2146300"/>
            <a:ext cx="2190877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7917FD9-F2C2-9F32-CACA-D5FA7F9CD99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0285" y="1460501"/>
            <a:ext cx="2190877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DE5753B-E0FD-F183-95E0-2733D45F2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137" y="2146300"/>
            <a:ext cx="2190877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145E1F9-F4A3-BD98-AB72-3A380E6C94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137" y="1460501"/>
            <a:ext cx="2190877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0AD474F-97DD-242B-5EC1-2EE4EFD7C9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6174" y="2146300"/>
            <a:ext cx="2190877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D56E9458-08CC-FBBC-74FB-CDD49575DA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6174" y="1460501"/>
            <a:ext cx="2190877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71462FAF-454B-CC0D-92F9-952F2B6F6E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94211" y="2146300"/>
            <a:ext cx="2190877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2DE5152-78E9-C4F6-86A2-A09AEBA2A5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2248" y="2146300"/>
            <a:ext cx="2190877" cy="42116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7" name="Picture 6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BDE08DD9-0AA0-A2DA-50E9-F93EA031C6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F695A7E3-85CA-F7D5-697F-05252515B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94211" y="1460501"/>
            <a:ext cx="2190877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D67A4D5D-B0BC-CE2F-75CE-B158EC2F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22248" y="1460501"/>
            <a:ext cx="2190877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1148518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 +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179859"/>
            <a:ext cx="3290888" cy="249828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A30B5B8-B58C-F2D9-3153-8752AD4AD7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78934" y="1657350"/>
            <a:ext cx="3862229" cy="16802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13E4D175-ADC6-E3E4-B0D6-685DA8C092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78935" y="500062"/>
            <a:ext cx="590550" cy="538163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039B0A65-D189-BB77-E2B1-A5F5122D29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8934" y="1095374"/>
            <a:ext cx="3862229" cy="504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9AFC0C15-CD34-CDFA-CCE2-8A4C2F9004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33825" y="4677728"/>
            <a:ext cx="3862229" cy="16802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51C2C640-ED0D-5549-662D-29ADB3770D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33826" y="3520440"/>
            <a:ext cx="590550" cy="538163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1339A290-3703-7374-762D-30AA599D8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33825" y="4115752"/>
            <a:ext cx="3862229" cy="504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C62528C4-5F44-185F-0965-ECD9755D82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78934" y="4677728"/>
            <a:ext cx="3862229" cy="16802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4D871A37-E9A9-2788-F038-DC3A8A69BA3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78935" y="3520440"/>
            <a:ext cx="590550" cy="538163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1DFCDA48-6EB4-B19D-EC74-A6B2A12974B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78934" y="4115752"/>
            <a:ext cx="3862229" cy="504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9E1887A-2DE3-3AB8-9557-AB6ABC1E2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33825" y="1657350"/>
            <a:ext cx="3862229" cy="16802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4FE86C62-A878-CE8F-66FC-139AA3CB54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3826" y="500062"/>
            <a:ext cx="590550" cy="538163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8FE274AE-B98F-24FF-8E12-BBC96397D0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3825" y="1095374"/>
            <a:ext cx="3862229" cy="5048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0B24B3FB-7EF1-A3AF-F929-1FA2162DAA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79211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 + 6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BE3C567E-342D-34EE-E1D7-CB3DE9F8AC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78935" y="500063"/>
            <a:ext cx="590550" cy="406717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1F6875B-2A50-4D1A-8656-D0D0D41988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78935" y="945833"/>
            <a:ext cx="3862229" cy="3914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C210F8C-0F20-6B18-41A8-83C5CF4D88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78935" y="1376363"/>
            <a:ext cx="3862229" cy="9544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179859"/>
            <a:ext cx="3290888" cy="249828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4FE86C62-A878-CE8F-66FC-139AA3CB54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3826" y="500063"/>
            <a:ext cx="590550" cy="406717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8FE274AE-B98F-24FF-8E12-BBC96397D0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3826" y="945833"/>
            <a:ext cx="3862229" cy="3914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69E1887A-2DE3-3AB8-9557-AB6ABC1E2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33826" y="1376363"/>
            <a:ext cx="3862229" cy="9544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C4002310-75D4-25BF-7C19-B0D7A9A057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78935" y="2500313"/>
            <a:ext cx="590550" cy="406717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E5BBBDB-7062-19D6-5706-C9C6666297B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78935" y="2946083"/>
            <a:ext cx="3862229" cy="3914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7BF2849-450C-9BCA-E14A-51D892C55A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78935" y="3376613"/>
            <a:ext cx="3862229" cy="9544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02EBF02-3875-5F08-8504-7D3A600273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33826" y="2500313"/>
            <a:ext cx="590550" cy="406717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F74138A2-05D0-3225-3713-93F018126DB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33826" y="2946083"/>
            <a:ext cx="3862229" cy="3914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446E59AB-62D9-869E-B03F-641307B361C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33826" y="3376613"/>
            <a:ext cx="3862229" cy="9544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76FA1A0F-5DC4-63C1-F42C-4261182253F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78935" y="4520565"/>
            <a:ext cx="590550" cy="406717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F51164-0F29-BEFC-782D-ADA5FA15B2C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78935" y="4966335"/>
            <a:ext cx="3862229" cy="3914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D8AF136E-BDBA-05BE-6C1D-2B4B79141DE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78935" y="5396865"/>
            <a:ext cx="3862229" cy="9544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507D69F-D195-05B8-7620-E9BD3289CED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933826" y="4520565"/>
            <a:ext cx="590550" cy="406717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D13E294-45A2-8C13-7EF5-ECCF96D999A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33826" y="4966335"/>
            <a:ext cx="3862229" cy="3914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07071A05-9031-BFA3-CC7F-6904B51D8D2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933826" y="5396865"/>
            <a:ext cx="3862229" cy="9544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650A494B-397E-8596-83EB-5796E5E562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8989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Image + Botto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03E5C1DF-CF5B-F9D5-A23F-7B55A00846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8137" y="338136"/>
            <a:ext cx="11503026" cy="258604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ABC6BF-EB35-5F64-7A2E-D60AFB9A59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0838" y="3914933"/>
            <a:ext cx="11490325" cy="20762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262512B-D203-1B07-C188-C0A9A48F23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0838" y="3229134"/>
            <a:ext cx="11490325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3" name="Picture 2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086788F9-3303-EEA8-290D-A3DF85994F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48687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 + Botto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8E7DDB1-B69C-2A63-0D58-86BA1EDCF1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0838" y="338136"/>
            <a:ext cx="3708188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59E55C5C-0A90-A524-2894-E0D2898F87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1906" y="338136"/>
            <a:ext cx="3708188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E1877F12-BCD7-D9CE-A9AB-B3D5326AA0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32974" y="338136"/>
            <a:ext cx="3708188" cy="6222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EFE8E0CC-D9A3-8AC0-61BD-0D3449857C8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0838" y="1023935"/>
            <a:ext cx="3708188" cy="19152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ED0D92F-9303-E597-599D-058E469338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1906" y="1023935"/>
            <a:ext cx="3708188" cy="19152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3EA24CCD-9643-0B22-87B9-4D1ACF95E3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2974" y="1023935"/>
            <a:ext cx="3708188" cy="19152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46882BC4-973E-642C-EFC9-CFA3BC104F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0838" y="3244620"/>
            <a:ext cx="3708188" cy="26709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FDA3AFEE-C02C-FBA9-E7CC-D3D693DC8F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41905" y="3244620"/>
            <a:ext cx="7599257" cy="26709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3" name="Picture 2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ADC0BFEF-BE44-F07E-FDD5-25E39070F3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216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02CF50CF-32E7-BF4E-E47F-CC07DFDDE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7724" y="3573624"/>
            <a:ext cx="10496552" cy="1499508"/>
          </a:xfrm>
        </p:spPr>
        <p:txBody>
          <a:bodyPr lIns="0" tIns="0" rIns="0" bIns="0" anchor="b">
            <a:normAutofit/>
          </a:bodyPr>
          <a:lstStyle>
            <a:lvl1pPr algn="ctr"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5CF0B7-BF92-3E58-1B02-75FE4E38BD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7724" y="5203759"/>
            <a:ext cx="10496552" cy="1057083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2" name="Picture 1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87B63BCB-D128-AAA5-DD62-DBBB0A71D1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44955" y="1417452"/>
            <a:ext cx="3502090" cy="2140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20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DA93C3-EF7F-1DBC-CF67-F2050EDD6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8136" y="1460500"/>
            <a:ext cx="11515727" cy="48974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F531FD58-3FF5-B72B-4A0C-543AF004F7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7" name="Rectangle: Top Corners Rounded 5">
            <a:extLst>
              <a:ext uri="{FF2B5EF4-FFF2-40B4-BE49-F238E27FC236}">
                <a16:creationId xmlns:a16="http://schemas.microsoft.com/office/drawing/2014/main" id="{19165D05-FB1B-969B-D83F-40840876443D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8" name="Picture 7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F8903605-BC7D-3F20-AE73-063708D79E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1944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Top Corners Rounded 5">
            <a:extLst>
              <a:ext uri="{FF2B5EF4-FFF2-40B4-BE49-F238E27FC236}">
                <a16:creationId xmlns:a16="http://schemas.microsoft.com/office/drawing/2014/main" id="{19165D05-FB1B-969B-D83F-40840876443D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8" name="Picture 7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F8903605-BC7D-3F20-AE73-063708D79E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8948AA-7450-9DDC-B369-4482FD4F1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anchor="ctr">
            <a:normAutofit/>
          </a:bodyPr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FORMATION TABL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5BD266C-D26B-2976-415E-E78EFA727D7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24716169"/>
              </p:ex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Table"/>
                  </p202:designTagLst>
                </p202:designPr>
              </p:ext>
            </p:extLst>
          </p:nvPr>
        </p:nvGraphicFramePr>
        <p:xfrm>
          <a:off x="1255537" y="1436437"/>
          <a:ext cx="9680925" cy="4605050"/>
        </p:xfrm>
        <a:graphic>
          <a:graphicData uri="http://schemas.openxmlformats.org/drawingml/2006/table">
            <a:tbl>
              <a:tblPr bandRow="1">
                <a:noFill/>
                <a:tableStyleId>{5C22544A-7EE6-4342-B048-85BDC9FD1C3A}</a:tableStyleId>
              </a:tblPr>
              <a:tblGrid>
                <a:gridCol w="1936185">
                  <a:extLst>
                    <a:ext uri="{9D8B030D-6E8A-4147-A177-3AD203B41FA5}">
                      <a16:colId xmlns:a16="http://schemas.microsoft.com/office/drawing/2014/main" val="3579652734"/>
                    </a:ext>
                  </a:extLst>
                </a:gridCol>
                <a:gridCol w="1936185">
                  <a:extLst>
                    <a:ext uri="{9D8B030D-6E8A-4147-A177-3AD203B41FA5}">
                      <a16:colId xmlns:a16="http://schemas.microsoft.com/office/drawing/2014/main" val="470480168"/>
                    </a:ext>
                  </a:extLst>
                </a:gridCol>
                <a:gridCol w="1936185">
                  <a:extLst>
                    <a:ext uri="{9D8B030D-6E8A-4147-A177-3AD203B41FA5}">
                      <a16:colId xmlns:a16="http://schemas.microsoft.com/office/drawing/2014/main" val="2744304463"/>
                    </a:ext>
                  </a:extLst>
                </a:gridCol>
                <a:gridCol w="1936185">
                  <a:extLst>
                    <a:ext uri="{9D8B030D-6E8A-4147-A177-3AD203B41FA5}">
                      <a16:colId xmlns:a16="http://schemas.microsoft.com/office/drawing/2014/main" val="3497082830"/>
                    </a:ext>
                  </a:extLst>
                </a:gridCol>
                <a:gridCol w="1936185">
                  <a:extLst>
                    <a:ext uri="{9D8B030D-6E8A-4147-A177-3AD203B41FA5}">
                      <a16:colId xmlns:a16="http://schemas.microsoft.com/office/drawing/2014/main" val="628822147"/>
                    </a:ext>
                  </a:extLst>
                </a:gridCol>
              </a:tblGrid>
              <a:tr h="944213">
                <a:tc>
                  <a:txBody>
                    <a:bodyPr/>
                    <a:lstStyle/>
                    <a:p>
                      <a:endParaRPr lang="en-US" sz="2000" b="1" cap="all" spc="150">
                        <a:solidFill>
                          <a:schemeClr val="tx1"/>
                        </a:solidFill>
                      </a:endParaRPr>
                    </a:p>
                  </a:txBody>
                  <a:tcPr marL="174355" marR="174355" marT="174355" marB="17435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cap="all" spc="150" dirty="0">
                          <a:solidFill>
                            <a:schemeClr val="tx1"/>
                          </a:solidFill>
                        </a:rPr>
                        <a:t>Column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cap="all" spc="150">
                          <a:solidFill>
                            <a:schemeClr val="tx1"/>
                          </a:solidFill>
                        </a:rPr>
                        <a:t>Column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cap="all" spc="150">
                          <a:solidFill>
                            <a:schemeClr val="tx1"/>
                          </a:solidFill>
                        </a:rPr>
                        <a:t>Column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cap="all" spc="150" dirty="0">
                          <a:solidFill>
                            <a:schemeClr val="tx1"/>
                          </a:solidFill>
                        </a:rPr>
                        <a:t>Column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2354806"/>
                  </a:ext>
                </a:extLst>
              </a:tr>
              <a:tr h="601846">
                <a:tc>
                  <a:txBody>
                    <a:bodyPr/>
                    <a:lstStyle/>
                    <a:p>
                      <a:r>
                        <a:rPr lang="en-US" sz="1700" b="1" cap="none" spc="0">
                          <a:solidFill>
                            <a:schemeClr val="tx1"/>
                          </a:solidFill>
                        </a:rPr>
                        <a:t>Row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123329"/>
                  </a:ext>
                </a:extLst>
              </a:tr>
              <a:tr h="601846">
                <a:tc>
                  <a:txBody>
                    <a:bodyPr/>
                    <a:lstStyle/>
                    <a:p>
                      <a:r>
                        <a:rPr lang="en-US" sz="1700" b="1" cap="none" spc="0">
                          <a:solidFill>
                            <a:schemeClr val="tx1"/>
                          </a:solidFill>
                        </a:rPr>
                        <a:t>Row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211526"/>
                  </a:ext>
                </a:extLst>
              </a:tr>
              <a:tr h="601846">
                <a:tc>
                  <a:txBody>
                    <a:bodyPr/>
                    <a:lstStyle/>
                    <a:p>
                      <a:r>
                        <a:rPr lang="en-US" sz="1700" b="1" cap="none" spc="0">
                          <a:solidFill>
                            <a:schemeClr val="tx1"/>
                          </a:solidFill>
                        </a:rPr>
                        <a:t>Row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4471857"/>
                  </a:ext>
                </a:extLst>
              </a:tr>
              <a:tr h="601846">
                <a:tc>
                  <a:txBody>
                    <a:bodyPr/>
                    <a:lstStyle/>
                    <a:p>
                      <a:r>
                        <a:rPr lang="en-US" sz="1700" b="1" cap="none" spc="0">
                          <a:solidFill>
                            <a:schemeClr val="tx1"/>
                          </a:solidFill>
                        </a:rPr>
                        <a:t>Row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5917319"/>
                  </a:ext>
                </a:extLst>
              </a:tr>
              <a:tr h="601846">
                <a:tc>
                  <a:txBody>
                    <a:bodyPr/>
                    <a:lstStyle/>
                    <a:p>
                      <a:r>
                        <a:rPr lang="en-US" sz="1700" b="1" cap="none" spc="0">
                          <a:solidFill>
                            <a:schemeClr val="tx1"/>
                          </a:solidFill>
                        </a:rPr>
                        <a:t>Row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557072"/>
                  </a:ext>
                </a:extLst>
              </a:tr>
              <a:tr h="601846">
                <a:tc>
                  <a:txBody>
                    <a:bodyPr/>
                    <a:lstStyle/>
                    <a:p>
                      <a:r>
                        <a:rPr lang="en-US" sz="1700" b="1" cap="none" spc="0">
                          <a:solidFill>
                            <a:schemeClr val="tx1"/>
                          </a:solidFill>
                        </a:rPr>
                        <a:t>Row Name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b="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b="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b="0" cap="none" spc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b="0" cap="none" spc="0" dirty="0">
                          <a:solidFill>
                            <a:schemeClr val="tx1"/>
                          </a:solidFill>
                        </a:rPr>
                        <a:t>Content</a:t>
                      </a:r>
                    </a:p>
                  </a:txBody>
                  <a:tcPr marL="174355" marR="174355" marT="174355" marB="174355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05922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2759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243CDA9-AAF2-9170-4946-A1E23FB06E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305" r="5305"/>
          <a:stretch/>
        </p:blipFill>
        <p:spPr>
          <a:xfrm>
            <a:off x="-3" y="0"/>
            <a:ext cx="12191999" cy="6858000"/>
          </a:xfrm>
          <a:prstGeom prst="rect">
            <a:avLst/>
          </a:prstGeom>
        </p:spPr>
      </p:pic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218592B6-17C0-1308-D6EF-7EEE239BA7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6769" y="5120878"/>
            <a:ext cx="5700330" cy="615553"/>
          </a:xfrm>
        </p:spPr>
        <p:txBody>
          <a:bodyPr lIns="0" tIns="0" rIns="0" bIns="0" anchor="ctr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E60084AC-BD9F-5517-988E-D33D2B74F3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6769" y="5828195"/>
            <a:ext cx="5700330" cy="485197"/>
          </a:xfrm>
        </p:spPr>
        <p:txBody>
          <a:bodyPr lIns="0" tIns="0" rIns="0" bIns="0" anchor="b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2731661" algn="l"/>
              </a:tabLst>
              <a:defRPr lang="en-GB" sz="2400" kern="1200" spc="250" baseline="0" dirty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3" name="Picture 2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A2E23E34-C8BB-0230-C5AD-0224B356C5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72855" y="327893"/>
            <a:ext cx="1853370" cy="113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62217"/>
      </p:ext>
    </p:extLst>
  </p:cSld>
  <p:clrMapOvr>
    <a:masterClrMapping/>
  </p:clrMapOvr>
  <p:transition>
    <p:fade/>
  </p:transition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5862A50-3489-B40C-7E0E-E9C5CB7255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9" y="1968759"/>
            <a:ext cx="11503024" cy="2593716"/>
          </a:xfrm>
        </p:spPr>
        <p:txBody>
          <a:bodyPr anchor="b"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2F9CB88-89C7-5549-FBE8-36A99F271F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139" y="4589463"/>
            <a:ext cx="11503024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2" name="Picture 1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9012422D-E76F-C9A9-78CD-501BBF777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7658" y="357735"/>
            <a:ext cx="2237110" cy="1367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3348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360A88-D602-2EE6-F1B8-9F70B857E7F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8138" y="1460500"/>
            <a:ext cx="5652115" cy="48974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F9961A-E21A-233D-66F6-D168F433C8C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1748" y="1460500"/>
            <a:ext cx="5652115" cy="48974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99A268E-1D65-6DA2-1179-2D4793D1F1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8" name="Rectangle: Top Corners Rounded 5">
            <a:extLst>
              <a:ext uri="{FF2B5EF4-FFF2-40B4-BE49-F238E27FC236}">
                <a16:creationId xmlns:a16="http://schemas.microsoft.com/office/drawing/2014/main" id="{8E0441C6-9AA7-CE21-2BC5-1B0AA90CD29C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9" name="Picture 8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EB867319-3DB0-811C-F8C7-188392DCFD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7287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F5FD88-3F7E-48A6-F50C-0A1BE99C815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136" y="1481138"/>
            <a:ext cx="5652115" cy="73437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7EC4F6-6B73-2EF2-C2B3-687229CF97F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136" y="2374900"/>
            <a:ext cx="5652115" cy="398303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755F73-8814-0FC6-0372-9AF3C54F22D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89048" y="1481138"/>
            <a:ext cx="5652115" cy="73437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B92DEC-72C4-ED9A-D361-4DCCC83874DF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89048" y="2374900"/>
            <a:ext cx="5652115" cy="398303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2E0E1E65-3F2F-EDD3-1C5E-1F97C74E5F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9" name="Rectangle: Top Corners Rounded 5">
            <a:extLst>
              <a:ext uri="{FF2B5EF4-FFF2-40B4-BE49-F238E27FC236}">
                <a16:creationId xmlns:a16="http://schemas.microsoft.com/office/drawing/2014/main" id="{F2F384B3-DE6D-ABFE-CB38-20DBDCFB6CCE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11" name="Picture 10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7A7F3DA1-6CC4-645C-0A05-00B202ABE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5511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AF97D-5E61-2052-B956-6DBCE89391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EF1CAB58-9CB8-A2CB-7E27-F4EF5B18E99A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6" name="Picture 5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49DBC05A-EAD8-103E-AF7C-33183086DD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5293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B130E70-C79B-0475-A5CB-357E3B8CBABE}"/>
              </a:ext>
            </a:extLst>
          </p:cNvPr>
          <p:cNvGraphicFramePr>
            <a:graphicFrameLocks noGrp="1"/>
          </p:cNvGraphicFramePr>
          <p:nvPr userDrawn="1"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StackedSequentialContentTable"/>
                  </p202:designTagLst>
                </p202:designPr>
              </p:ext>
            </p:extLst>
          </p:nvPr>
        </p:nvGraphicFramePr>
        <p:xfrm>
          <a:off x="949531" y="1536065"/>
          <a:ext cx="10292937" cy="4746310"/>
        </p:xfrm>
        <a:graphic>
          <a:graphicData uri="http://schemas.openxmlformats.org/drawingml/2006/table">
            <a:tbl>
              <a:tblPr bandRow="1">
                <a:noFill/>
                <a:tableStyleId>{5C22544A-7EE6-4342-B048-85BDC9FD1C3A}</a:tableStyleId>
              </a:tblPr>
              <a:tblGrid>
                <a:gridCol w="1204942">
                  <a:extLst>
                    <a:ext uri="{9D8B030D-6E8A-4147-A177-3AD203B41FA5}">
                      <a16:colId xmlns:a16="http://schemas.microsoft.com/office/drawing/2014/main" val="2167428910"/>
                    </a:ext>
                  </a:extLst>
                </a:gridCol>
                <a:gridCol w="9087995">
                  <a:extLst>
                    <a:ext uri="{9D8B030D-6E8A-4147-A177-3AD203B41FA5}">
                      <a16:colId xmlns:a16="http://schemas.microsoft.com/office/drawing/2014/main" val="3447756191"/>
                    </a:ext>
                  </a:extLst>
                </a:gridCol>
              </a:tblGrid>
              <a:tr h="94926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300" b="1" cap="none" spc="0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Add a subtitle</a:t>
                      </a:r>
                      <a:br>
                        <a:rPr lang="en-US" sz="2100" b="0" cap="none" spc="0">
                          <a:solidFill>
                            <a:schemeClr val="tx1"/>
                          </a:solidFill>
                        </a:rPr>
                      </a:br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Write a description to add depth and clarity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0136508"/>
                  </a:ext>
                </a:extLst>
              </a:tr>
              <a:tr h="94926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300" b="1" cap="none" spc="0">
                          <a:solidFill>
                            <a:schemeClr val="accent1"/>
                          </a:solidFill>
                          <a:effectLst/>
                        </a:rPr>
                        <a:t>2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Add a subtitle</a:t>
                      </a:r>
                      <a:br>
                        <a:rPr lang="en-US" sz="2100" b="0" cap="none" spc="0">
                          <a:solidFill>
                            <a:schemeClr val="tx1"/>
                          </a:solidFill>
                        </a:rPr>
                      </a:br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Write a description to add depth and clarity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7192906"/>
                  </a:ext>
                </a:extLst>
              </a:tr>
              <a:tr h="94926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300" b="1" cap="none" spc="0">
                          <a:solidFill>
                            <a:schemeClr val="accent1"/>
                          </a:solidFill>
                          <a:effectLst/>
                        </a:rPr>
                        <a:t>3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Add a subtitle</a:t>
                      </a:r>
                      <a:br>
                        <a:rPr lang="en-US" sz="2100" b="0" cap="none" spc="0">
                          <a:solidFill>
                            <a:schemeClr val="tx1"/>
                          </a:solidFill>
                        </a:rPr>
                      </a:br>
                      <a:r>
                        <a:rPr lang="en-US" sz="2100" b="0" cap="none" spc="0">
                          <a:solidFill>
                            <a:schemeClr val="tx1"/>
                          </a:solidFill>
                        </a:rPr>
                        <a:t>Write a description to add depth and clarity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8605904"/>
                  </a:ext>
                </a:extLst>
              </a:tr>
              <a:tr h="94926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300" b="1" cap="none" spc="0">
                          <a:solidFill>
                            <a:schemeClr val="accent1"/>
                          </a:solidFill>
                          <a:effectLst/>
                        </a:rPr>
                        <a:t>4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 dirty="0">
                          <a:solidFill>
                            <a:schemeClr val="tx1"/>
                          </a:solidFill>
                        </a:rPr>
                        <a:t>Add a subtitle</a:t>
                      </a:r>
                      <a:br>
                        <a:rPr lang="en-US" sz="2100" b="0" cap="none" spc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2100" b="0" cap="none" spc="0" dirty="0">
                          <a:solidFill>
                            <a:schemeClr val="tx1"/>
                          </a:solidFill>
                        </a:rPr>
                        <a:t>Write a description to add depth and clarity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4279175"/>
                  </a:ext>
                </a:extLst>
              </a:tr>
              <a:tr h="949262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3300" b="1" cap="none" spc="0">
                          <a:solidFill>
                            <a:schemeClr val="accent1"/>
                          </a:solidFill>
                          <a:effectLst/>
                        </a:rPr>
                        <a:t>5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100" b="0" cap="none" spc="0" dirty="0">
                          <a:solidFill>
                            <a:schemeClr val="tx1"/>
                          </a:solidFill>
                        </a:rPr>
                        <a:t>Add a subtitle</a:t>
                      </a:r>
                      <a:br>
                        <a:rPr lang="en-US" sz="2100" b="0" cap="none" spc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2100" b="0" cap="none" spc="0" dirty="0">
                          <a:solidFill>
                            <a:schemeClr val="tx1"/>
                          </a:solidFill>
                        </a:rPr>
                        <a:t>Write a description to add depth and clarity</a:t>
                      </a:r>
                    </a:p>
                  </a:txBody>
                  <a:tcPr marL="141446" marR="141446" marT="141446" marB="14144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784255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BA52AE1-2F57-B405-CBD8-6430298500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NUMBERED LIS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1268D990-5F8B-7E45-767D-3A07B5188A07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6" name="Picture 5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C71FB909-89D8-1EFC-42BC-CCBE9A9C65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3531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0D3007-5BE3-0F88-F3D4-6421904199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76851" y="1460500"/>
            <a:ext cx="6564312" cy="489743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BDA2F7A-0D55-E017-6F7F-521887C3A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138" y="1460500"/>
            <a:ext cx="4719637" cy="48974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01E79173-97BE-94D8-710D-C27A657AF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50579566-2682-BF60-6F92-BB36B38DD5BB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7" name="Picture 6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36D33638-CEAA-985F-C651-04F50DB8EE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8553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>
            <a:extLst>
              <a:ext uri="{FF2B5EF4-FFF2-40B4-BE49-F238E27FC236}">
                <a16:creationId xmlns:a16="http://schemas.microsoft.com/office/drawing/2014/main" id="{19BDE37B-C2CC-FE1B-4980-67F967B678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76851" y="1460500"/>
            <a:ext cx="6564312" cy="489743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7AD0F8F8-4794-571A-E833-B8C9CCEE8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138" y="1460500"/>
            <a:ext cx="4719637" cy="48974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FAEF1AAD-3FC7-B797-6526-0F69E777C7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5B088A06-1625-EE38-CDC8-1BFDE2B7A6E3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pic>
        <p:nvPicPr>
          <p:cNvPr id="9" name="Picture 8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D4854B52-C1A9-8DB1-92DA-18ADD62407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092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5076988-1D46-1492-6FCA-196868B91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8A2A07C-4D3B-5B23-B4B7-877351FA6F09}"/>
              </a:ext>
            </a:extLst>
          </p:cNvPr>
          <p:cNvSpPr/>
          <p:nvPr userDrawn="1"/>
        </p:nvSpPr>
        <p:spPr>
          <a:xfrm rot="5400000">
            <a:off x="-185058" y="185056"/>
            <a:ext cx="6858000" cy="648788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"/>
                  <a:lumOff val="95000"/>
                  <a:alpha val="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A40B359-DBB1-8EE5-E535-7FC26F53B2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1761" y="5120878"/>
            <a:ext cx="5700330" cy="615553"/>
          </a:xfrm>
        </p:spPr>
        <p:txBody>
          <a:bodyPr lIns="0" tIns="0" rIns="0" bIns="0" anchor="b">
            <a:noAutofit/>
          </a:bodyPr>
          <a:lstStyle>
            <a:lvl1pPr marL="12699" indent="0" algn="l" defTabSz="914400" rtl="0" eaLnBrk="0" fontAlgn="base" latinLnBrk="0" hangingPunct="0">
              <a:lnSpc>
                <a:spcPts val="416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2731661" algn="l"/>
              </a:tabLst>
              <a:defRPr lang="en-GB" sz="3600" b="1" kern="1200" spc="300" baseline="0" dirty="0">
                <a:solidFill>
                  <a:schemeClr val="accent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D1C7BB3B-323B-A7B9-B816-47B37D572F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1761" y="5828195"/>
            <a:ext cx="5700330" cy="485197"/>
          </a:xfrm>
        </p:spPr>
        <p:txBody>
          <a:bodyPr lIns="0" tIns="0" rIns="0" bIns="0" anchor="t">
            <a:noAutofit/>
          </a:bodyPr>
          <a:lstStyle>
            <a:lvl1pPr marL="12699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2731661" algn="l"/>
              </a:tabLst>
              <a:defRPr lang="en-GB" sz="2400" kern="1200" spc="250" baseline="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2699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tabLst>
                <a:tab pos="2731661" algn="l"/>
              </a:tabLst>
              <a:defRPr lang="en-GB" sz="4000" b="1" kern="1200" spc="25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6F0E89FD-4A46-FB3D-7D6D-AB8B9A84D2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4081" y="402843"/>
            <a:ext cx="1853370" cy="113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777613"/>
      </p:ext>
    </p:extLst>
  </p:cSld>
  <p:clrMapOvr>
    <a:masterClrMapping/>
  </p:clrMapOvr>
  <p:transition>
    <p:fade/>
  </p:transition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r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940EB5F5-079C-2E4A-982F-C17105C9EA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70400" y="4529762"/>
            <a:ext cx="3100631" cy="187469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Picture Placeholder 18">
            <a:extLst>
              <a:ext uri="{FF2B5EF4-FFF2-40B4-BE49-F238E27FC236}">
                <a16:creationId xmlns:a16="http://schemas.microsoft.com/office/drawing/2014/main" id="{0BAC2522-FCA4-B85B-89E2-72AE1E6A73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40446" y="3774923"/>
            <a:ext cx="3100632" cy="184328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11C0E582-B2DF-703F-3AF6-75C5A8A54C7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2960" y="1834597"/>
            <a:ext cx="3848070" cy="25680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2E122450-1290-2FD8-DFD3-BFE9BF9B79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24379" y="3774923"/>
            <a:ext cx="3462716" cy="229473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Picture Placeholder 18">
            <a:extLst>
              <a:ext uri="{FF2B5EF4-FFF2-40B4-BE49-F238E27FC236}">
                <a16:creationId xmlns:a16="http://schemas.microsoft.com/office/drawing/2014/main" id="{69536E4A-2722-4F95-90DE-FCBC36A052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4379" y="1346048"/>
            <a:ext cx="3848070" cy="22793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72DAD7C8-900F-56CB-A883-B2BD25AB03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11903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4">
            <a:extLst>
              <a:ext uri="{FF2B5EF4-FFF2-40B4-BE49-F238E27FC236}">
                <a16:creationId xmlns:a16="http://schemas.microsoft.com/office/drawing/2014/main" id="{0CECE0FE-1A25-0FCC-37E2-ADB9C8B1499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68077" y="3285995"/>
            <a:ext cx="3018911" cy="3572005"/>
          </a:xfrm>
          <a:prstGeom prst="round2SameRect">
            <a:avLst>
              <a:gd name="adj1" fmla="val 6586"/>
              <a:gd name="adj2" fmla="val 0"/>
            </a:avLst>
          </a:prstGeom>
          <a:effectLst>
            <a:outerShdw blurRad="369316" dist="110490" dir="9000000" sx="99000" sy="99000" algn="ctr" rotWithShape="0">
              <a:srgbClr val="000000">
                <a:alpha val="41000"/>
              </a:srgbClr>
            </a:outerShdw>
          </a:effectLst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9A32A308-D2CB-E230-ACB2-9F73F6F98F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68077" y="550095"/>
            <a:ext cx="3018911" cy="2547645"/>
          </a:xfrm>
          <a:prstGeom prst="roundRect">
            <a:avLst>
              <a:gd name="adj" fmla="val 8760"/>
            </a:avLst>
          </a:prstGeom>
          <a:effectLst>
            <a:outerShdw blurRad="369316" dist="110490" dir="9000000" sx="99000" sy="99000" algn="ctr" rotWithShape="0">
              <a:srgbClr val="000000">
                <a:alpha val="41000"/>
              </a:srgbClr>
            </a:outerShdw>
          </a:effectLst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FDC596C-3FC3-0791-D3F2-2C1D44BBB0DA}"/>
              </a:ext>
            </a:extLst>
          </p:cNvPr>
          <p:cNvGrpSpPr/>
          <p:nvPr userDrawn="1"/>
        </p:nvGrpSpPr>
        <p:grpSpPr>
          <a:xfrm rot="5400000">
            <a:off x="9781954" y="4447958"/>
            <a:ext cx="2403580" cy="2416512"/>
            <a:chOff x="11679877" y="2050727"/>
            <a:chExt cx="1717081" cy="1726320"/>
          </a:xfrm>
          <a:solidFill>
            <a:schemeClr val="bg1"/>
          </a:solidFill>
        </p:grpSpPr>
        <p:sp>
          <p:nvSpPr>
            <p:cNvPr id="17" name="Freeform 42">
              <a:extLst>
                <a:ext uri="{FF2B5EF4-FFF2-40B4-BE49-F238E27FC236}">
                  <a16:creationId xmlns:a16="http://schemas.microsoft.com/office/drawing/2014/main" id="{E2582A7A-EEAC-D5F6-D8BA-5F5BEE48BB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9877" y="2050728"/>
              <a:ext cx="1717081" cy="1726319"/>
            </a:xfrm>
            <a:custGeom>
              <a:avLst/>
              <a:gdLst>
                <a:gd name="connsiteX0" fmla="*/ 0 w 2912212"/>
                <a:gd name="connsiteY0" fmla="*/ 0 h 2927879"/>
                <a:gd name="connsiteX1" fmla="*/ 2912212 w 2912212"/>
                <a:gd name="connsiteY1" fmla="*/ 0 h 2927879"/>
                <a:gd name="connsiteX2" fmla="*/ 2912212 w 2912212"/>
                <a:gd name="connsiteY2" fmla="*/ 2927879 h 2927879"/>
                <a:gd name="connsiteX3" fmla="*/ 2792917 w 2912212"/>
                <a:gd name="connsiteY3" fmla="*/ 2924863 h 2927879"/>
                <a:gd name="connsiteX4" fmla="*/ 14367 w 2912212"/>
                <a:gd name="connsiteY4" fmla="*/ 284514 h 292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2212" h="2927879">
                  <a:moveTo>
                    <a:pt x="0" y="0"/>
                  </a:moveTo>
                  <a:lnTo>
                    <a:pt x="2912212" y="0"/>
                  </a:lnTo>
                  <a:lnTo>
                    <a:pt x="2912212" y="2927879"/>
                  </a:lnTo>
                  <a:lnTo>
                    <a:pt x="2792917" y="2924863"/>
                  </a:lnTo>
                  <a:cubicBezTo>
                    <a:pt x="1337099" y="2851067"/>
                    <a:pt x="160169" y="1720205"/>
                    <a:pt x="14367" y="284514"/>
                  </a:cubicBezTo>
                  <a:close/>
                </a:path>
              </a:pathLst>
            </a:custGeom>
            <a:grpFill/>
            <a:ln w="76200">
              <a:noFill/>
            </a:ln>
            <a:effectLst>
              <a:outerShdw blurRad="63500" dist="12700" dir="7800000" algn="ctr" rotWithShape="0">
                <a:srgbClr val="212D64">
                  <a:alpha val="4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EG"/>
            </a:p>
          </p:txBody>
        </p:sp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8C329915-CC26-3536-0F07-30796BC99B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81270" y="2050728"/>
              <a:ext cx="1415688" cy="1424445"/>
            </a:xfrm>
            <a:custGeom>
              <a:avLst/>
              <a:gdLst>
                <a:gd name="connsiteX0" fmla="*/ 0 w 2401041"/>
                <a:gd name="connsiteY0" fmla="*/ 0 h 2415893"/>
                <a:gd name="connsiteX1" fmla="*/ 2401041 w 2401041"/>
                <a:gd name="connsiteY1" fmla="*/ 0 h 2415893"/>
                <a:gd name="connsiteX2" fmla="*/ 2401041 w 2401041"/>
                <a:gd name="connsiteY2" fmla="*/ 2415893 h 2415893"/>
                <a:gd name="connsiteX3" fmla="*/ 2184433 w 2401041"/>
                <a:gd name="connsiteY3" fmla="*/ 2404955 h 2415893"/>
                <a:gd name="connsiteX4" fmla="*/ 11727 w 2401041"/>
                <a:gd name="connsiteY4" fmla="*/ 232249 h 2415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041" h="2415893">
                  <a:moveTo>
                    <a:pt x="0" y="0"/>
                  </a:moveTo>
                  <a:lnTo>
                    <a:pt x="2401041" y="0"/>
                  </a:lnTo>
                  <a:lnTo>
                    <a:pt x="2401041" y="2415893"/>
                  </a:lnTo>
                  <a:lnTo>
                    <a:pt x="2184433" y="2404955"/>
                  </a:lnTo>
                  <a:cubicBezTo>
                    <a:pt x="1038827" y="2288612"/>
                    <a:pt x="128070" y="1377855"/>
                    <a:pt x="11727" y="232249"/>
                  </a:cubicBezTo>
                  <a:close/>
                </a:path>
              </a:pathLst>
            </a:custGeom>
            <a:grpFill/>
            <a:ln w="76200">
              <a:noFill/>
            </a:ln>
            <a:effectLst>
              <a:outerShdw blurRad="63500" dist="12700" dir="7800000" algn="ctr" rotWithShape="0">
                <a:srgbClr val="212D64">
                  <a:alpha val="4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EG"/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CE7FAE15-1818-94FA-0604-0CCA0354699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338186" y="2050727"/>
              <a:ext cx="1058772" cy="1067530"/>
            </a:xfrm>
            <a:custGeom>
              <a:avLst/>
              <a:gdLst>
                <a:gd name="connsiteX0" fmla="*/ 0 w 1795703"/>
                <a:gd name="connsiteY0" fmla="*/ 0 h 1810556"/>
                <a:gd name="connsiteX1" fmla="*/ 1795703 w 1795703"/>
                <a:gd name="connsiteY1" fmla="*/ 0 h 1810556"/>
                <a:gd name="connsiteX2" fmla="*/ 1795703 w 1795703"/>
                <a:gd name="connsiteY2" fmla="*/ 1810556 h 1810556"/>
                <a:gd name="connsiteX3" fmla="*/ 1640988 w 1795703"/>
                <a:gd name="connsiteY3" fmla="*/ 1802744 h 1810556"/>
                <a:gd name="connsiteX4" fmla="*/ 8602 w 1795703"/>
                <a:gd name="connsiteY4" fmla="*/ 170358 h 1810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5703" h="1810556">
                  <a:moveTo>
                    <a:pt x="0" y="0"/>
                  </a:moveTo>
                  <a:lnTo>
                    <a:pt x="1795703" y="0"/>
                  </a:lnTo>
                  <a:lnTo>
                    <a:pt x="1795703" y="1810556"/>
                  </a:lnTo>
                  <a:lnTo>
                    <a:pt x="1640988" y="1802744"/>
                  </a:lnTo>
                  <a:cubicBezTo>
                    <a:pt x="780277" y="1715334"/>
                    <a:pt x="96012" y="1031069"/>
                    <a:pt x="8602" y="170358"/>
                  </a:cubicBezTo>
                  <a:close/>
                </a:path>
              </a:pathLst>
            </a:custGeom>
            <a:grpFill/>
            <a:ln w="76200">
              <a:noFill/>
            </a:ln>
            <a:effectLst>
              <a:outerShdw blurRad="63500" dist="12700" dir="7800000" algn="ctr" rotWithShape="0">
                <a:srgbClr val="212D64">
                  <a:alpha val="4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EG"/>
            </a:p>
          </p:txBody>
        </p:sp>
      </p:grpSp>
      <p:sp>
        <p:nvSpPr>
          <p:cNvPr id="3" name="Text Placeholder 47">
            <a:extLst>
              <a:ext uri="{FF2B5EF4-FFF2-40B4-BE49-F238E27FC236}">
                <a16:creationId xmlns:a16="http://schemas.microsoft.com/office/drawing/2014/main" id="{D1B62BBE-5795-1F82-C79C-225076BEC6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549" y="1756318"/>
            <a:ext cx="5601568" cy="29810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lang="en-GB" sz="2000" kern="1200" spc="250" baseline="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ext Placeholder 47">
            <a:extLst>
              <a:ext uri="{FF2B5EF4-FFF2-40B4-BE49-F238E27FC236}">
                <a16:creationId xmlns:a16="http://schemas.microsoft.com/office/drawing/2014/main" id="{2A773D2A-10C2-00CC-E849-2A185AE1FC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49" y="1065569"/>
            <a:ext cx="5601568" cy="635617"/>
          </a:xfrm>
        </p:spPr>
        <p:txBody>
          <a:bodyPr lIns="0" tIns="0" rIns="0" bIns="0" anchor="b">
            <a:noAutofit/>
          </a:bodyPr>
          <a:lstStyle>
            <a:lvl1pPr marL="0" indent="0" algn="l" defTabSz="914400" rtl="0" eaLnBrk="1" latinLnBrk="0" hangingPunct="1">
              <a:buNone/>
              <a:defRPr lang="en-GB" sz="4800" b="1" kern="1200" spc="250" dirty="0">
                <a:solidFill>
                  <a:schemeClr val="accent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" name="Text Placeholder 47">
            <a:extLst>
              <a:ext uri="{FF2B5EF4-FFF2-40B4-BE49-F238E27FC236}">
                <a16:creationId xmlns:a16="http://schemas.microsoft.com/office/drawing/2014/main" id="{488261B8-980D-C678-B12A-B2967FB903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4103" y="2235018"/>
            <a:ext cx="2171738" cy="461665"/>
          </a:xfrm>
        </p:spPr>
        <p:txBody>
          <a:bodyPr lIns="91440" tIns="0" rIns="91440" bIns="0" anchor="ctr">
            <a:noAutofit/>
          </a:bodyPr>
          <a:lstStyle>
            <a:lvl1pPr marL="0" indent="0" algn="l" defTabSz="914400" rtl="0" eaLnBrk="1" latinLnBrk="0" hangingPunct="1">
              <a:buNone/>
              <a:defRPr lang="en-GB" sz="2400" b="1" kern="120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6" name="Text Placeholder 39">
            <a:extLst>
              <a:ext uri="{FF2B5EF4-FFF2-40B4-BE49-F238E27FC236}">
                <a16:creationId xmlns:a16="http://schemas.microsoft.com/office/drawing/2014/main" id="{96C1CA73-3DAC-D713-6ABE-9F76BCD201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8549" y="2759135"/>
            <a:ext cx="2177292" cy="646331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7" name="Text Placeholder 47">
            <a:extLst>
              <a:ext uri="{FF2B5EF4-FFF2-40B4-BE49-F238E27FC236}">
                <a16:creationId xmlns:a16="http://schemas.microsoft.com/office/drawing/2014/main" id="{2D716773-2E49-29F8-9FFC-F272B7EE8F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96447" y="2235018"/>
            <a:ext cx="2151527" cy="461665"/>
          </a:xfrm>
        </p:spPr>
        <p:txBody>
          <a:bodyPr lIns="91440" tIns="0" rIns="91440" bIns="0" anchor="ctr">
            <a:noAutofit/>
          </a:bodyPr>
          <a:lstStyle>
            <a:lvl1pPr marL="0" indent="0" algn="l" defTabSz="914400" rtl="0" eaLnBrk="1" latinLnBrk="0" hangingPunct="1">
              <a:buNone/>
              <a:defRPr lang="en-GB" sz="2400" b="1" kern="120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8" name="Text Placeholder 39">
            <a:extLst>
              <a:ext uri="{FF2B5EF4-FFF2-40B4-BE49-F238E27FC236}">
                <a16:creationId xmlns:a16="http://schemas.microsoft.com/office/drawing/2014/main" id="{8C07F02E-10EF-1CF9-F7C0-B08F3BFFFA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4701" y="2743103"/>
            <a:ext cx="2156514" cy="646331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ext Placeholder 47">
            <a:extLst>
              <a:ext uri="{FF2B5EF4-FFF2-40B4-BE49-F238E27FC236}">
                <a16:creationId xmlns:a16="http://schemas.microsoft.com/office/drawing/2014/main" id="{261D5EB3-7DA8-36ED-37C6-2C750A029F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24102" y="3452534"/>
            <a:ext cx="2171739" cy="461665"/>
          </a:xfrm>
        </p:spPr>
        <p:txBody>
          <a:bodyPr lIns="91440" tIns="0" rIns="91440" bIns="0" anchor="ctr">
            <a:noAutofit/>
          </a:bodyPr>
          <a:lstStyle>
            <a:lvl1pPr marL="0" indent="0" algn="l" defTabSz="914400" rtl="0" eaLnBrk="1" latinLnBrk="0" hangingPunct="1">
              <a:buNone/>
              <a:defRPr lang="en-GB" sz="2400" b="1" kern="120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Text Placeholder 39">
            <a:extLst>
              <a:ext uri="{FF2B5EF4-FFF2-40B4-BE49-F238E27FC236}">
                <a16:creationId xmlns:a16="http://schemas.microsoft.com/office/drawing/2014/main" id="{16323584-AD86-5326-B920-C61BA2923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6663" y="3966912"/>
            <a:ext cx="2169178" cy="646331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3" name="Text Placeholder 47">
            <a:extLst>
              <a:ext uri="{FF2B5EF4-FFF2-40B4-BE49-F238E27FC236}">
                <a16:creationId xmlns:a16="http://schemas.microsoft.com/office/drawing/2014/main" id="{564CB3DE-F466-E4EF-2B84-5706F1E7E2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896448" y="3452534"/>
            <a:ext cx="2151526" cy="461665"/>
          </a:xfrm>
        </p:spPr>
        <p:txBody>
          <a:bodyPr lIns="91440" tIns="0" rIns="91440" bIns="0" anchor="ctr">
            <a:noAutofit/>
          </a:bodyPr>
          <a:lstStyle>
            <a:lvl1pPr marL="0" indent="0" algn="l" defTabSz="914400" rtl="0" eaLnBrk="1" latinLnBrk="0" hangingPunct="1">
              <a:buNone/>
              <a:defRPr lang="en-GB" sz="2400" b="1" kern="120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4" name="Text Placeholder 39">
            <a:extLst>
              <a:ext uri="{FF2B5EF4-FFF2-40B4-BE49-F238E27FC236}">
                <a16:creationId xmlns:a16="http://schemas.microsoft.com/office/drawing/2014/main" id="{D6AF5927-F1EE-65DB-9838-D19D364BC5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701" y="3975786"/>
            <a:ext cx="2156514" cy="646331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47">
            <a:extLst>
              <a:ext uri="{FF2B5EF4-FFF2-40B4-BE49-F238E27FC236}">
                <a16:creationId xmlns:a16="http://schemas.microsoft.com/office/drawing/2014/main" id="{F62DDE6A-BF6D-BCC3-CC43-6C914F5FC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24103" y="4665957"/>
            <a:ext cx="2171738" cy="461665"/>
          </a:xfrm>
        </p:spPr>
        <p:txBody>
          <a:bodyPr lIns="91440" tIns="0" rIns="91440" bIns="0" anchor="ctr">
            <a:noAutofit/>
          </a:bodyPr>
          <a:lstStyle>
            <a:lvl1pPr marL="0" indent="0" algn="l" defTabSz="914400" rtl="0" eaLnBrk="1" latinLnBrk="0" hangingPunct="1">
              <a:buNone/>
              <a:defRPr lang="en-GB" sz="2400" b="1" kern="120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24" name="Text Placeholder 39">
            <a:extLst>
              <a:ext uri="{FF2B5EF4-FFF2-40B4-BE49-F238E27FC236}">
                <a16:creationId xmlns:a16="http://schemas.microsoft.com/office/drawing/2014/main" id="{D90D20E3-BC0F-79A4-245E-ACDCA3ABE6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32416" y="5186728"/>
            <a:ext cx="2171737" cy="646331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47">
            <a:extLst>
              <a:ext uri="{FF2B5EF4-FFF2-40B4-BE49-F238E27FC236}">
                <a16:creationId xmlns:a16="http://schemas.microsoft.com/office/drawing/2014/main" id="{234858A6-DA50-4E1E-7000-454F1EAC82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96448" y="4665957"/>
            <a:ext cx="2151526" cy="461665"/>
          </a:xfrm>
        </p:spPr>
        <p:txBody>
          <a:bodyPr lIns="91440" tIns="0" rIns="91440" bIns="0" anchor="ctr">
            <a:noAutofit/>
          </a:bodyPr>
          <a:lstStyle>
            <a:lvl1pPr marL="0" indent="0" algn="l" defTabSz="914400" rtl="0" eaLnBrk="1" latinLnBrk="0" hangingPunct="1">
              <a:buNone/>
              <a:defRPr lang="en-GB" sz="2400" b="1" kern="1200" dirty="0">
                <a:solidFill>
                  <a:schemeClr val="accent3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28" name="Text Placeholder 39">
            <a:extLst>
              <a:ext uri="{FF2B5EF4-FFF2-40B4-BE49-F238E27FC236}">
                <a16:creationId xmlns:a16="http://schemas.microsoft.com/office/drawing/2014/main" id="{8BAF0291-C538-FBB3-6294-62B1F4499B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3940" y="5185384"/>
            <a:ext cx="2156514" cy="646331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914400" rtl="0" eaLnBrk="1" latinLnBrk="0" hangingPunct="1">
              <a:buNone/>
              <a:defRPr lang="en-GB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buNone/>
              <a:defRPr lang="en-GB" sz="1800" b="1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pic>
        <p:nvPicPr>
          <p:cNvPr id="20" name="Picture 19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D2231CDF-B3F6-7F45-2198-87762C5E18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6B255A-77AB-1D03-60D3-0C5AC97180FE}"/>
              </a:ext>
            </a:extLst>
          </p:cNvPr>
          <p:cNvCxnSpPr/>
          <p:nvPr userDrawn="1"/>
        </p:nvCxnSpPr>
        <p:spPr>
          <a:xfrm>
            <a:off x="4811292" y="2135493"/>
            <a:ext cx="560156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25829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47">
            <a:extLst>
              <a:ext uri="{FF2B5EF4-FFF2-40B4-BE49-F238E27FC236}">
                <a16:creationId xmlns:a16="http://schemas.microsoft.com/office/drawing/2014/main" id="{D33B912D-CA63-EA46-0E23-93234244C7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27056" y="1131807"/>
            <a:ext cx="5601569" cy="776978"/>
          </a:xfrm>
        </p:spPr>
        <p:txBody>
          <a:bodyPr lIns="0" tIns="0" rIns="0" bIns="0" anchor="b">
            <a:noAutofit/>
          </a:bodyPr>
          <a:lstStyle>
            <a:lvl1pPr marL="0" indent="0" algn="l" defTabSz="914400" rtl="0" eaLnBrk="1" latinLnBrk="0" hangingPunct="1">
              <a:buNone/>
              <a:defRPr lang="en-GB" sz="4800" b="1" kern="1200" spc="250" dirty="0">
                <a:solidFill>
                  <a:schemeClr val="accent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75F6C8-86E8-934F-C960-613E6C39AF2E}"/>
              </a:ext>
            </a:extLst>
          </p:cNvPr>
          <p:cNvGrpSpPr/>
          <p:nvPr userDrawn="1"/>
        </p:nvGrpSpPr>
        <p:grpSpPr>
          <a:xfrm rot="5400000">
            <a:off x="9532137" y="4198139"/>
            <a:ext cx="2652728" cy="2667001"/>
            <a:chOff x="11679877" y="2050727"/>
            <a:chExt cx="1717081" cy="1726320"/>
          </a:xfrm>
          <a:solidFill>
            <a:schemeClr val="bg1"/>
          </a:solidFill>
        </p:grpSpPr>
        <p:sp>
          <p:nvSpPr>
            <p:cNvPr id="8" name="Freeform 42">
              <a:extLst>
                <a:ext uri="{FF2B5EF4-FFF2-40B4-BE49-F238E27FC236}">
                  <a16:creationId xmlns:a16="http://schemas.microsoft.com/office/drawing/2014/main" id="{62B5D3B5-9B5F-3C09-E301-DE37F77DBB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9877" y="2050728"/>
              <a:ext cx="1717081" cy="1726319"/>
            </a:xfrm>
            <a:custGeom>
              <a:avLst/>
              <a:gdLst>
                <a:gd name="connsiteX0" fmla="*/ 0 w 2912212"/>
                <a:gd name="connsiteY0" fmla="*/ 0 h 2927879"/>
                <a:gd name="connsiteX1" fmla="*/ 2912212 w 2912212"/>
                <a:gd name="connsiteY1" fmla="*/ 0 h 2927879"/>
                <a:gd name="connsiteX2" fmla="*/ 2912212 w 2912212"/>
                <a:gd name="connsiteY2" fmla="*/ 2927879 h 2927879"/>
                <a:gd name="connsiteX3" fmla="*/ 2792917 w 2912212"/>
                <a:gd name="connsiteY3" fmla="*/ 2924863 h 2927879"/>
                <a:gd name="connsiteX4" fmla="*/ 14367 w 2912212"/>
                <a:gd name="connsiteY4" fmla="*/ 284514 h 292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2212" h="2927879">
                  <a:moveTo>
                    <a:pt x="0" y="0"/>
                  </a:moveTo>
                  <a:lnTo>
                    <a:pt x="2912212" y="0"/>
                  </a:lnTo>
                  <a:lnTo>
                    <a:pt x="2912212" y="2927879"/>
                  </a:lnTo>
                  <a:lnTo>
                    <a:pt x="2792917" y="2924863"/>
                  </a:lnTo>
                  <a:cubicBezTo>
                    <a:pt x="1337099" y="2851067"/>
                    <a:pt x="160169" y="1720205"/>
                    <a:pt x="14367" y="284514"/>
                  </a:cubicBezTo>
                  <a:close/>
                </a:path>
              </a:pathLst>
            </a:custGeom>
            <a:grpFill/>
            <a:ln w="76200">
              <a:noFill/>
            </a:ln>
            <a:effectLst>
              <a:outerShdw blurRad="63500" dist="12700" dir="7800000" algn="ctr" rotWithShape="0">
                <a:srgbClr val="212D64">
                  <a:alpha val="4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EG"/>
            </a:p>
          </p:txBody>
        </p:sp>
        <p:sp>
          <p:nvSpPr>
            <p:cNvPr id="9" name="Freeform 43">
              <a:extLst>
                <a:ext uri="{FF2B5EF4-FFF2-40B4-BE49-F238E27FC236}">
                  <a16:creationId xmlns:a16="http://schemas.microsoft.com/office/drawing/2014/main" id="{7CBE403C-76C5-2B7B-6318-7947D70358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981270" y="2050728"/>
              <a:ext cx="1415688" cy="1424445"/>
            </a:xfrm>
            <a:custGeom>
              <a:avLst/>
              <a:gdLst>
                <a:gd name="connsiteX0" fmla="*/ 0 w 2401041"/>
                <a:gd name="connsiteY0" fmla="*/ 0 h 2415893"/>
                <a:gd name="connsiteX1" fmla="*/ 2401041 w 2401041"/>
                <a:gd name="connsiteY1" fmla="*/ 0 h 2415893"/>
                <a:gd name="connsiteX2" fmla="*/ 2401041 w 2401041"/>
                <a:gd name="connsiteY2" fmla="*/ 2415893 h 2415893"/>
                <a:gd name="connsiteX3" fmla="*/ 2184433 w 2401041"/>
                <a:gd name="connsiteY3" fmla="*/ 2404955 h 2415893"/>
                <a:gd name="connsiteX4" fmla="*/ 11727 w 2401041"/>
                <a:gd name="connsiteY4" fmla="*/ 232249 h 2415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041" h="2415893">
                  <a:moveTo>
                    <a:pt x="0" y="0"/>
                  </a:moveTo>
                  <a:lnTo>
                    <a:pt x="2401041" y="0"/>
                  </a:lnTo>
                  <a:lnTo>
                    <a:pt x="2401041" y="2415893"/>
                  </a:lnTo>
                  <a:lnTo>
                    <a:pt x="2184433" y="2404955"/>
                  </a:lnTo>
                  <a:cubicBezTo>
                    <a:pt x="1038827" y="2288612"/>
                    <a:pt x="128070" y="1377855"/>
                    <a:pt x="11727" y="232249"/>
                  </a:cubicBezTo>
                  <a:close/>
                </a:path>
              </a:pathLst>
            </a:custGeom>
            <a:grpFill/>
            <a:ln w="76200">
              <a:noFill/>
            </a:ln>
            <a:effectLst>
              <a:outerShdw blurRad="63500" dist="12700" dir="7800000" algn="ctr" rotWithShape="0">
                <a:srgbClr val="212D64">
                  <a:alpha val="4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EG"/>
            </a:p>
          </p:txBody>
        </p:sp>
        <p:sp>
          <p:nvSpPr>
            <p:cNvPr id="11" name="Freeform 44">
              <a:extLst>
                <a:ext uri="{FF2B5EF4-FFF2-40B4-BE49-F238E27FC236}">
                  <a16:creationId xmlns:a16="http://schemas.microsoft.com/office/drawing/2014/main" id="{51FD5EAD-04F9-4D06-CF52-27987E4604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338186" y="2050727"/>
              <a:ext cx="1058772" cy="1067530"/>
            </a:xfrm>
            <a:custGeom>
              <a:avLst/>
              <a:gdLst>
                <a:gd name="connsiteX0" fmla="*/ 0 w 1795703"/>
                <a:gd name="connsiteY0" fmla="*/ 0 h 1810556"/>
                <a:gd name="connsiteX1" fmla="*/ 1795703 w 1795703"/>
                <a:gd name="connsiteY1" fmla="*/ 0 h 1810556"/>
                <a:gd name="connsiteX2" fmla="*/ 1795703 w 1795703"/>
                <a:gd name="connsiteY2" fmla="*/ 1810556 h 1810556"/>
                <a:gd name="connsiteX3" fmla="*/ 1640988 w 1795703"/>
                <a:gd name="connsiteY3" fmla="*/ 1802744 h 1810556"/>
                <a:gd name="connsiteX4" fmla="*/ 8602 w 1795703"/>
                <a:gd name="connsiteY4" fmla="*/ 170358 h 1810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5703" h="1810556">
                  <a:moveTo>
                    <a:pt x="0" y="0"/>
                  </a:moveTo>
                  <a:lnTo>
                    <a:pt x="1795703" y="0"/>
                  </a:lnTo>
                  <a:lnTo>
                    <a:pt x="1795703" y="1810556"/>
                  </a:lnTo>
                  <a:lnTo>
                    <a:pt x="1640988" y="1802744"/>
                  </a:lnTo>
                  <a:cubicBezTo>
                    <a:pt x="780277" y="1715334"/>
                    <a:pt x="96012" y="1031069"/>
                    <a:pt x="8602" y="170358"/>
                  </a:cubicBezTo>
                  <a:close/>
                </a:path>
              </a:pathLst>
            </a:custGeom>
            <a:grpFill/>
            <a:ln w="76200">
              <a:noFill/>
            </a:ln>
            <a:effectLst>
              <a:outerShdw blurRad="63500" dist="12700" dir="7800000" algn="ctr" rotWithShape="0">
                <a:srgbClr val="212D64">
                  <a:alpha val="4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EG"/>
            </a:p>
          </p:txBody>
        </p:sp>
      </p:grp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16D32D4-1764-6EBF-9423-5CFFF9FFFD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717137"/>
            <a:ext cx="5050323" cy="545697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21C1C5BD-9195-17DB-5C61-987CBA74307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27056" y="2323846"/>
            <a:ext cx="5601569" cy="3694858"/>
          </a:xfrm>
        </p:spPr>
        <p:txBody>
          <a:bodyPr/>
          <a:lstStyle>
            <a:lvl1pPr marL="285750" indent="-285750" algn="l" defTabSz="3796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  <a:defRPr lang="en-GB" sz="1600" b="1" kern="1200" spc="83" dirty="0" smtClean="0">
                <a:solidFill>
                  <a:schemeClr val="tx1"/>
                </a:solidFill>
                <a:latin typeface="+mj-lt"/>
                <a:ea typeface="+mn-ea"/>
                <a:cs typeface="Calibri"/>
              </a:defRPr>
            </a:lvl1pPr>
            <a:lvl2pPr marL="685800" indent="-228600">
              <a:tabLst>
                <a:tab pos="157163" algn="l"/>
                <a:tab pos="4338638" algn="r"/>
                <a:tab pos="4814888" algn="r"/>
                <a:tab pos="4857750" algn="l"/>
                <a:tab pos="5141913" algn="r"/>
                <a:tab pos="5721350" algn="l"/>
                <a:tab pos="5853113" algn="l"/>
                <a:tab pos="6240463" algn="r"/>
                <a:tab pos="6288088" algn="r"/>
                <a:tab pos="6815138" algn="r"/>
                <a:tab pos="6905625" algn="r"/>
              </a:tabLst>
              <a:defRPr lang="en-GB" sz="1400" kern="1200" spc="83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47">
            <a:extLst>
              <a:ext uri="{FF2B5EF4-FFF2-40B4-BE49-F238E27FC236}">
                <a16:creationId xmlns:a16="http://schemas.microsoft.com/office/drawing/2014/main" id="{94131D9A-67E7-28C6-9128-1239B687FE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27056" y="1952361"/>
            <a:ext cx="5601569" cy="29810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lang="en-GB" sz="2000" kern="1200" spc="250" baseline="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pic>
        <p:nvPicPr>
          <p:cNvPr id="4" name="Picture 3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D1B9CF69-AE88-AB27-937B-70AFD392AE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5461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81ED1C2A-2956-4079-275F-441AA19E74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7" y="289368"/>
            <a:ext cx="10272713" cy="599632"/>
          </a:xfrm>
        </p:spPr>
        <p:txBody>
          <a:bodyPr lIns="0" tIns="0" rIns="0" bIns="0">
            <a:normAutofit/>
          </a:bodyPr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EXT</a:t>
            </a:r>
          </a:p>
        </p:txBody>
      </p:sp>
      <p:sp>
        <p:nvSpPr>
          <p:cNvPr id="5" name="Rectangle: Top Corners Rounded 5">
            <a:extLst>
              <a:ext uri="{FF2B5EF4-FFF2-40B4-BE49-F238E27FC236}">
                <a16:creationId xmlns:a16="http://schemas.microsoft.com/office/drawing/2014/main" id="{425852CD-50E3-247F-1407-CB43C57EA950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10" name="Rectangle: Top Corners Rounded 5">
            <a:extLst>
              <a:ext uri="{FF2B5EF4-FFF2-40B4-BE49-F238E27FC236}">
                <a16:creationId xmlns:a16="http://schemas.microsoft.com/office/drawing/2014/main" id="{A3D5C330-6034-1C08-27F1-A0EFDA86EC08}"/>
              </a:ext>
            </a:extLst>
          </p:cNvPr>
          <p:cNvSpPr/>
          <p:nvPr userDrawn="1"/>
        </p:nvSpPr>
        <p:spPr bwMode="auto">
          <a:xfrm rot="5400000">
            <a:off x="-267100" y="539999"/>
            <a:ext cx="601963" cy="64757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rgbClr val="212D64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491FA6F-8EED-4B3B-8BA8-412F77B6BF21}"/>
              </a:ext>
            </a:extLst>
          </p:cNvPr>
          <p:cNvSpPr/>
          <p:nvPr/>
        </p:nvSpPr>
        <p:spPr bwMode="auto">
          <a:xfrm>
            <a:off x="2130650" y="1186007"/>
            <a:ext cx="2490752" cy="838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54000" dist="38100" algn="l" rotWithShape="0">
              <a:prstClr val="black">
                <a:alpha val="10000"/>
              </a:prstClr>
            </a:outerShdw>
          </a:effectLst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chemeClr val="bg1"/>
              </a:solidFill>
            </a:endParaRPr>
          </a:p>
        </p:txBody>
      </p:sp>
      <p:sp>
        <p:nvSpPr>
          <p:cNvPr id="86" name="Arc 85">
            <a:extLst>
              <a:ext uri="{FF2B5EF4-FFF2-40B4-BE49-F238E27FC236}">
                <a16:creationId xmlns:a16="http://schemas.microsoft.com/office/drawing/2014/main" id="{BEEDF7AC-F78B-D87C-71E3-4C15DBFF337F}"/>
              </a:ext>
            </a:extLst>
          </p:cNvPr>
          <p:cNvSpPr/>
          <p:nvPr/>
        </p:nvSpPr>
        <p:spPr bwMode="auto">
          <a:xfrm>
            <a:off x="2209256" y="1287542"/>
            <a:ext cx="635263" cy="635263"/>
          </a:xfrm>
          <a:prstGeom prst="arc">
            <a:avLst>
              <a:gd name="adj1" fmla="val 6321222"/>
              <a:gd name="adj2" fmla="val 15284177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/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2AFEA0A0-2C3E-A2D6-92D6-C0969172E6E2}"/>
              </a:ext>
            </a:extLst>
          </p:cNvPr>
          <p:cNvSpPr/>
          <p:nvPr/>
        </p:nvSpPr>
        <p:spPr bwMode="auto">
          <a:xfrm>
            <a:off x="4850625" y="1186007"/>
            <a:ext cx="2490752" cy="838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54000" dist="38100" algn="l" rotWithShape="0">
              <a:prstClr val="black">
                <a:alpha val="10000"/>
              </a:prstClr>
            </a:outerShdw>
          </a:effectLst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chemeClr val="bg1"/>
              </a:solidFill>
            </a:endParaRPr>
          </a:p>
        </p:txBody>
      </p:sp>
      <p:sp>
        <p:nvSpPr>
          <p:cNvPr id="93" name="Arc 92">
            <a:extLst>
              <a:ext uri="{FF2B5EF4-FFF2-40B4-BE49-F238E27FC236}">
                <a16:creationId xmlns:a16="http://schemas.microsoft.com/office/drawing/2014/main" id="{ECA58515-A991-CBB9-73D0-A87D0A986782}"/>
              </a:ext>
            </a:extLst>
          </p:cNvPr>
          <p:cNvSpPr/>
          <p:nvPr/>
        </p:nvSpPr>
        <p:spPr bwMode="auto">
          <a:xfrm>
            <a:off x="4929231" y="1287542"/>
            <a:ext cx="635263" cy="635263"/>
          </a:xfrm>
          <a:prstGeom prst="arc">
            <a:avLst>
              <a:gd name="adj1" fmla="val 6321222"/>
              <a:gd name="adj2" fmla="val 15284177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/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CC80A7AB-BC2A-ED5A-BCD3-AC16906CAC85}"/>
              </a:ext>
            </a:extLst>
          </p:cNvPr>
          <p:cNvSpPr/>
          <p:nvPr/>
        </p:nvSpPr>
        <p:spPr bwMode="auto">
          <a:xfrm>
            <a:off x="7570600" y="1186007"/>
            <a:ext cx="2490752" cy="838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54000" dist="38100" algn="l" rotWithShape="0">
              <a:prstClr val="black">
                <a:alpha val="10000"/>
              </a:prstClr>
            </a:outerShdw>
          </a:effectLst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 eaLnBrk="0" fontAlgn="base" hangingPunct="0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>
              <a:solidFill>
                <a:schemeClr val="bg1"/>
              </a:solidFill>
            </a:endParaRPr>
          </a:p>
        </p:txBody>
      </p:sp>
      <p:sp>
        <p:nvSpPr>
          <p:cNvPr id="99" name="Arc 98">
            <a:extLst>
              <a:ext uri="{FF2B5EF4-FFF2-40B4-BE49-F238E27FC236}">
                <a16:creationId xmlns:a16="http://schemas.microsoft.com/office/drawing/2014/main" id="{55365AF8-2B0E-A133-CAB4-7DF028FA6821}"/>
              </a:ext>
            </a:extLst>
          </p:cNvPr>
          <p:cNvSpPr/>
          <p:nvPr/>
        </p:nvSpPr>
        <p:spPr bwMode="auto">
          <a:xfrm>
            <a:off x="7649206" y="1287542"/>
            <a:ext cx="635263" cy="635263"/>
          </a:xfrm>
          <a:prstGeom prst="arc">
            <a:avLst>
              <a:gd name="adj1" fmla="val 6321222"/>
              <a:gd name="adj2" fmla="val 15284177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379662">
              <a:spcBef>
                <a:spcPct val="10000"/>
              </a:spcBef>
              <a:spcAft>
                <a:spcPct val="10000"/>
              </a:spcAft>
              <a:tabLst>
                <a:tab pos="158744" algn="l"/>
                <a:tab pos="519886" algn="l"/>
                <a:tab pos="4338993" algn="r"/>
                <a:tab pos="4815224" algn="r"/>
                <a:tab pos="5143294" algn="r"/>
                <a:tab pos="5721386" algn="l"/>
                <a:tab pos="5853673" algn="l"/>
                <a:tab pos="6241271" algn="r"/>
                <a:tab pos="6288894" algn="r"/>
                <a:tab pos="6815394" algn="r"/>
                <a:tab pos="6906672" algn="r"/>
              </a:tabLst>
            </a:pPr>
            <a:endParaRPr lang="en-GB" sz="1333" dirty="0"/>
          </a:p>
        </p:txBody>
      </p:sp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C053E2E1-45BB-DEA3-F5DB-8B922A9C5A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5495" y="2185308"/>
            <a:ext cx="4071154" cy="388346"/>
          </a:xfrm>
          <a:solidFill>
            <a:schemeClr val="accent1"/>
          </a:solidFill>
        </p:spPr>
        <p:txBody>
          <a:bodyPr lIns="91440" tIns="45720" rIns="91440" bIns="45720" anchor="ctr">
            <a:no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39" name="Text Placeholder 137">
            <a:extLst>
              <a:ext uri="{FF2B5EF4-FFF2-40B4-BE49-F238E27FC236}">
                <a16:creationId xmlns:a16="http://schemas.microsoft.com/office/drawing/2014/main" id="{33874259-1546-5A78-6F9D-6FD21F8B7B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99048" y="2185308"/>
            <a:ext cx="2237303" cy="388346"/>
          </a:xfrm>
          <a:solidFill>
            <a:schemeClr val="accent1"/>
          </a:solidFill>
        </p:spPr>
        <p:txBody>
          <a:bodyPr lIns="91440" tIns="45720" rIns="91440" bIns="45720" anchor="ctr">
            <a:no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40" name="Text Placeholder 137">
            <a:extLst>
              <a:ext uri="{FF2B5EF4-FFF2-40B4-BE49-F238E27FC236}">
                <a16:creationId xmlns:a16="http://schemas.microsoft.com/office/drawing/2014/main" id="{3EA728E0-2406-4597-E37F-E39DCC4A696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088748" y="2185308"/>
            <a:ext cx="2237303" cy="388346"/>
          </a:xfrm>
          <a:solidFill>
            <a:schemeClr val="accent1"/>
          </a:solidFill>
        </p:spPr>
        <p:txBody>
          <a:bodyPr lIns="91440" tIns="45720" rIns="91440" bIns="45720" anchor="ctr">
            <a:no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41" name="Text Placeholder 137">
            <a:extLst>
              <a:ext uri="{FF2B5EF4-FFF2-40B4-BE49-F238E27FC236}">
                <a16:creationId xmlns:a16="http://schemas.microsoft.com/office/drawing/2014/main" id="{24438858-A31D-A293-4283-2698DB9B5AC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78448" y="2185308"/>
            <a:ext cx="2237303" cy="388346"/>
          </a:xfrm>
          <a:solidFill>
            <a:schemeClr val="accent1"/>
          </a:solidFill>
        </p:spPr>
        <p:txBody>
          <a:bodyPr lIns="91440" tIns="45720" rIns="91440" bIns="45720" anchor="ctr">
            <a:no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42" name="Text Placeholder 137">
            <a:extLst>
              <a:ext uri="{FF2B5EF4-FFF2-40B4-BE49-F238E27FC236}">
                <a16:creationId xmlns:a16="http://schemas.microsoft.com/office/drawing/2014/main" id="{08A2562A-B6CC-8A0A-87E7-5327800836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78448" y="4386065"/>
            <a:ext cx="2237303" cy="259771"/>
          </a:xfrm>
          <a:solidFill>
            <a:schemeClr val="accent1"/>
          </a:solidFill>
        </p:spPr>
        <p:txBody>
          <a:bodyPr lIns="91440" tIns="45720" rIns="91440" bIns="45720" anchor="ctr">
            <a:noAutofit/>
          </a:bodyPr>
          <a:lstStyle>
            <a:lvl1pPr marL="0" indent="0">
              <a:buNone/>
              <a:defRPr sz="1100" b="1">
                <a:solidFill>
                  <a:schemeClr val="accent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143" name="Picture Placeholder 123">
            <a:extLst>
              <a:ext uri="{FF2B5EF4-FFF2-40B4-BE49-F238E27FC236}">
                <a16:creationId xmlns:a16="http://schemas.microsoft.com/office/drawing/2014/main" id="{4A3F7168-F48F-3F50-2BB2-B5D28A669E3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974366" y="1332610"/>
            <a:ext cx="544993" cy="544993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22943CBA-6296-335F-C1D4-7EB0C2D5A2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91194" y="1220094"/>
            <a:ext cx="1678348" cy="770026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7" name="Text Placeholder 93">
            <a:extLst>
              <a:ext uri="{FF2B5EF4-FFF2-40B4-BE49-F238E27FC236}">
                <a16:creationId xmlns:a16="http://schemas.microsoft.com/office/drawing/2014/main" id="{897A23B4-6757-17C8-BFF9-6DC30A838E1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311169" y="1220094"/>
            <a:ext cx="1678348" cy="770026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2" name="Text Placeholder 93">
            <a:extLst>
              <a:ext uri="{FF2B5EF4-FFF2-40B4-BE49-F238E27FC236}">
                <a16:creationId xmlns:a16="http://schemas.microsoft.com/office/drawing/2014/main" id="{34B54448-C928-BBCF-8EEF-A54BF08CDE4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71219" y="1220094"/>
            <a:ext cx="1678348" cy="770026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3" name="Picture Placeholder 123">
            <a:extLst>
              <a:ext uri="{FF2B5EF4-FFF2-40B4-BE49-F238E27FC236}">
                <a16:creationId xmlns:a16="http://schemas.microsoft.com/office/drawing/2014/main" id="{7828DD2C-9A33-F484-8B14-6955B5CAC83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75497" y="2684983"/>
            <a:ext cx="458364" cy="458364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8" name="Picture Placeholder 123">
            <a:extLst>
              <a:ext uri="{FF2B5EF4-FFF2-40B4-BE49-F238E27FC236}">
                <a16:creationId xmlns:a16="http://schemas.microsoft.com/office/drawing/2014/main" id="{CAE65B1F-FECE-E92B-CB10-C2387C7A163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475497" y="3249609"/>
            <a:ext cx="458364" cy="458364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9" name="Picture Placeholder 123">
            <a:extLst>
              <a:ext uri="{FF2B5EF4-FFF2-40B4-BE49-F238E27FC236}">
                <a16:creationId xmlns:a16="http://schemas.microsoft.com/office/drawing/2014/main" id="{3374BE24-539C-4D4A-3249-DF2E5B768357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75497" y="3814232"/>
            <a:ext cx="458364" cy="458364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0" name="Picture Placeholder 123">
            <a:extLst>
              <a:ext uri="{FF2B5EF4-FFF2-40B4-BE49-F238E27FC236}">
                <a16:creationId xmlns:a16="http://schemas.microsoft.com/office/drawing/2014/main" id="{1BE3454D-1FA8-C5DA-16C2-D7BD9BAFD05F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75497" y="4378856"/>
            <a:ext cx="458364" cy="458364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4" name="Picture Placeholder 123">
            <a:extLst>
              <a:ext uri="{FF2B5EF4-FFF2-40B4-BE49-F238E27FC236}">
                <a16:creationId xmlns:a16="http://schemas.microsoft.com/office/drawing/2014/main" id="{14B3B00C-066C-02CF-2503-CAA65B55CE15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2531786" y="2684983"/>
            <a:ext cx="458364" cy="458364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5" name="Picture Placeholder 123">
            <a:extLst>
              <a:ext uri="{FF2B5EF4-FFF2-40B4-BE49-F238E27FC236}">
                <a16:creationId xmlns:a16="http://schemas.microsoft.com/office/drawing/2014/main" id="{7BBB9696-05B5-86BE-3FF1-AE950B99634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2531786" y="3249609"/>
            <a:ext cx="458364" cy="458364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6" name="Picture Placeholder 123">
            <a:extLst>
              <a:ext uri="{FF2B5EF4-FFF2-40B4-BE49-F238E27FC236}">
                <a16:creationId xmlns:a16="http://schemas.microsoft.com/office/drawing/2014/main" id="{6C5099B5-B012-8953-9E06-741E12B4A7E4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531786" y="3814232"/>
            <a:ext cx="458364" cy="458364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8" name="Picture Placeholder 123">
            <a:extLst>
              <a:ext uri="{FF2B5EF4-FFF2-40B4-BE49-F238E27FC236}">
                <a16:creationId xmlns:a16="http://schemas.microsoft.com/office/drawing/2014/main" id="{3347487F-3BD3-09AA-53FE-99D448A1BE57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4699048" y="2684982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9" name="Picture Placeholder 123">
            <a:extLst>
              <a:ext uri="{FF2B5EF4-FFF2-40B4-BE49-F238E27FC236}">
                <a16:creationId xmlns:a16="http://schemas.microsoft.com/office/drawing/2014/main" id="{1ED23DC8-6A30-816A-693D-605FEB5C9564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4699048" y="3249608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0" name="Picture Placeholder 123">
            <a:extLst>
              <a:ext uri="{FF2B5EF4-FFF2-40B4-BE49-F238E27FC236}">
                <a16:creationId xmlns:a16="http://schemas.microsoft.com/office/drawing/2014/main" id="{51304AD3-25E7-C264-7023-C427E1E9270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4699048" y="3814232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1" name="Picture Placeholder 123">
            <a:extLst>
              <a:ext uri="{FF2B5EF4-FFF2-40B4-BE49-F238E27FC236}">
                <a16:creationId xmlns:a16="http://schemas.microsoft.com/office/drawing/2014/main" id="{7E4B21B6-0141-02D1-885D-25D486E9D4CF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4699048" y="4378856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2" name="Picture Placeholder 123">
            <a:extLst>
              <a:ext uri="{FF2B5EF4-FFF2-40B4-BE49-F238E27FC236}">
                <a16:creationId xmlns:a16="http://schemas.microsoft.com/office/drawing/2014/main" id="{7B37999A-59E7-9C9B-1C36-4894051DF83A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4699048" y="4943480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3" name="Picture Placeholder 123">
            <a:extLst>
              <a:ext uri="{FF2B5EF4-FFF2-40B4-BE49-F238E27FC236}">
                <a16:creationId xmlns:a16="http://schemas.microsoft.com/office/drawing/2014/main" id="{C5499356-F6F0-05C4-A422-4341F8D8877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4699048" y="5508104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4" name="Picture Placeholder 123">
            <a:extLst>
              <a:ext uri="{FF2B5EF4-FFF2-40B4-BE49-F238E27FC236}">
                <a16:creationId xmlns:a16="http://schemas.microsoft.com/office/drawing/2014/main" id="{C215E372-A70D-D31D-D70D-79696C6B0D53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4699048" y="6072725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5" name="Picture Placeholder 123">
            <a:extLst>
              <a:ext uri="{FF2B5EF4-FFF2-40B4-BE49-F238E27FC236}">
                <a16:creationId xmlns:a16="http://schemas.microsoft.com/office/drawing/2014/main" id="{52370FD2-1337-E7BE-5582-11ACAF559B58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7104966" y="2684982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6" name="Picture Placeholder 123">
            <a:extLst>
              <a:ext uri="{FF2B5EF4-FFF2-40B4-BE49-F238E27FC236}">
                <a16:creationId xmlns:a16="http://schemas.microsoft.com/office/drawing/2014/main" id="{D9B7830E-087B-37FF-5584-0254ACAC36B5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7104966" y="3249608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7" name="Picture Placeholder 123">
            <a:extLst>
              <a:ext uri="{FF2B5EF4-FFF2-40B4-BE49-F238E27FC236}">
                <a16:creationId xmlns:a16="http://schemas.microsoft.com/office/drawing/2014/main" id="{9F1706D8-A6BF-072B-2491-7C60A65A8778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7104966" y="3814232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8" name="Picture Placeholder 123">
            <a:extLst>
              <a:ext uri="{FF2B5EF4-FFF2-40B4-BE49-F238E27FC236}">
                <a16:creationId xmlns:a16="http://schemas.microsoft.com/office/drawing/2014/main" id="{22960FF9-10BD-FF71-1D75-C1B629C00555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104966" y="4378856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9" name="Picture Placeholder 123">
            <a:extLst>
              <a:ext uri="{FF2B5EF4-FFF2-40B4-BE49-F238E27FC236}">
                <a16:creationId xmlns:a16="http://schemas.microsoft.com/office/drawing/2014/main" id="{42F8AFE2-144B-37F4-F158-8D23E36E7CE9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104966" y="4943478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0" name="Picture Placeholder 123">
            <a:extLst>
              <a:ext uri="{FF2B5EF4-FFF2-40B4-BE49-F238E27FC236}">
                <a16:creationId xmlns:a16="http://schemas.microsoft.com/office/drawing/2014/main" id="{25059C04-2C1D-CFD9-1113-C0D9B14750EC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7104966" y="5508103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1" name="Picture Placeholder 123">
            <a:extLst>
              <a:ext uri="{FF2B5EF4-FFF2-40B4-BE49-F238E27FC236}">
                <a16:creationId xmlns:a16="http://schemas.microsoft.com/office/drawing/2014/main" id="{41EE4E35-F146-E4E3-D1D0-E3E333F4230D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9478449" y="2684982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2" name="Picture Placeholder 123">
            <a:extLst>
              <a:ext uri="{FF2B5EF4-FFF2-40B4-BE49-F238E27FC236}">
                <a16:creationId xmlns:a16="http://schemas.microsoft.com/office/drawing/2014/main" id="{85D44083-EA7A-E79D-7FA4-D38654AC3124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9478449" y="3249608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3" name="Picture Placeholder 123">
            <a:extLst>
              <a:ext uri="{FF2B5EF4-FFF2-40B4-BE49-F238E27FC236}">
                <a16:creationId xmlns:a16="http://schemas.microsoft.com/office/drawing/2014/main" id="{976326CB-1B56-9BC6-D320-AA9C78BC8FD6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9478449" y="3814232"/>
            <a:ext cx="458365" cy="458365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4" name="Picture Placeholder 123">
            <a:extLst>
              <a:ext uri="{FF2B5EF4-FFF2-40B4-BE49-F238E27FC236}">
                <a16:creationId xmlns:a16="http://schemas.microsoft.com/office/drawing/2014/main" id="{4D9266E3-2614-1495-CFF9-7BD5D30EF8DE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>
            <a:off x="2254391" y="1332610"/>
            <a:ext cx="544993" cy="544993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5" name="Picture Placeholder 123">
            <a:extLst>
              <a:ext uri="{FF2B5EF4-FFF2-40B4-BE49-F238E27FC236}">
                <a16:creationId xmlns:a16="http://schemas.microsoft.com/office/drawing/2014/main" id="{CA45E79C-0642-4D5D-173E-2F980E563291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7694341" y="1332610"/>
            <a:ext cx="544993" cy="544993"/>
          </a:xfrm>
          <a:prstGeom prst="ellipse">
            <a:avLst/>
          </a:prstGeom>
          <a:ln w="19050">
            <a:solidFill>
              <a:schemeClr val="bg1"/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7" name="Text Placeholder 93">
            <a:extLst>
              <a:ext uri="{FF2B5EF4-FFF2-40B4-BE49-F238E27FC236}">
                <a16:creationId xmlns:a16="http://schemas.microsoft.com/office/drawing/2014/main" id="{497DD3F9-3ADD-3A87-DC39-B55BBBE2255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1062985" y="2684983"/>
            <a:ext cx="1250890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98" name="Text Placeholder 93">
            <a:extLst>
              <a:ext uri="{FF2B5EF4-FFF2-40B4-BE49-F238E27FC236}">
                <a16:creationId xmlns:a16="http://schemas.microsoft.com/office/drawing/2014/main" id="{2C8B7693-F2E4-09F4-3F07-6A5ADFDF3669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1062985" y="3249609"/>
            <a:ext cx="1250890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99" name="Text Placeholder 93">
            <a:extLst>
              <a:ext uri="{FF2B5EF4-FFF2-40B4-BE49-F238E27FC236}">
                <a16:creationId xmlns:a16="http://schemas.microsoft.com/office/drawing/2014/main" id="{52508E69-780A-6AF2-ED1B-06F5B01BA816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1062985" y="3814232"/>
            <a:ext cx="1250890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0" name="Text Placeholder 93">
            <a:extLst>
              <a:ext uri="{FF2B5EF4-FFF2-40B4-BE49-F238E27FC236}">
                <a16:creationId xmlns:a16="http://schemas.microsoft.com/office/drawing/2014/main" id="{A5E85639-7CD7-0366-0EC7-2DF44682ABC6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1062985" y="4378856"/>
            <a:ext cx="1250890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1" name="Text Placeholder 93">
            <a:extLst>
              <a:ext uri="{FF2B5EF4-FFF2-40B4-BE49-F238E27FC236}">
                <a16:creationId xmlns:a16="http://schemas.microsoft.com/office/drawing/2014/main" id="{5DD6E8F5-040E-F808-E7B4-44551781513A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3100771" y="3814232"/>
            <a:ext cx="1445878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2" name="Text Placeholder 93">
            <a:extLst>
              <a:ext uri="{FF2B5EF4-FFF2-40B4-BE49-F238E27FC236}">
                <a16:creationId xmlns:a16="http://schemas.microsoft.com/office/drawing/2014/main" id="{16E4A7C5-25E6-A578-148F-AB0960E179D2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3100771" y="3249609"/>
            <a:ext cx="1445878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3" name="Text Placeholder 93">
            <a:extLst>
              <a:ext uri="{FF2B5EF4-FFF2-40B4-BE49-F238E27FC236}">
                <a16:creationId xmlns:a16="http://schemas.microsoft.com/office/drawing/2014/main" id="{8CD87500-AD26-193E-F54A-7B9199C00AB8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3100771" y="2684983"/>
            <a:ext cx="1445878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4" name="Text Placeholder 93">
            <a:extLst>
              <a:ext uri="{FF2B5EF4-FFF2-40B4-BE49-F238E27FC236}">
                <a16:creationId xmlns:a16="http://schemas.microsoft.com/office/drawing/2014/main" id="{0CC5A7B6-6E8B-E7AA-979C-F73771EBFAAC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5271902" y="2684983"/>
            <a:ext cx="1664449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5" name="Text Placeholder 93">
            <a:extLst>
              <a:ext uri="{FF2B5EF4-FFF2-40B4-BE49-F238E27FC236}">
                <a16:creationId xmlns:a16="http://schemas.microsoft.com/office/drawing/2014/main" id="{B99067E1-80E5-AC49-1150-E751B5F467A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5271902" y="3249607"/>
            <a:ext cx="1664449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6" name="Text Placeholder 93">
            <a:extLst>
              <a:ext uri="{FF2B5EF4-FFF2-40B4-BE49-F238E27FC236}">
                <a16:creationId xmlns:a16="http://schemas.microsoft.com/office/drawing/2014/main" id="{6AEFBA1A-74AC-4FD3-8EE7-BEBA0555EFCF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5271902" y="3814232"/>
            <a:ext cx="1664449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7" name="Text Placeholder 93">
            <a:extLst>
              <a:ext uri="{FF2B5EF4-FFF2-40B4-BE49-F238E27FC236}">
                <a16:creationId xmlns:a16="http://schemas.microsoft.com/office/drawing/2014/main" id="{111777EA-0FD1-498F-F200-919F5CF1CA3E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5271902" y="4378856"/>
            <a:ext cx="1664449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8" name="Text Placeholder 93">
            <a:extLst>
              <a:ext uri="{FF2B5EF4-FFF2-40B4-BE49-F238E27FC236}">
                <a16:creationId xmlns:a16="http://schemas.microsoft.com/office/drawing/2014/main" id="{A899DCFE-E81B-0384-7FAE-4F239A8B7EE0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5271902" y="4943479"/>
            <a:ext cx="1664449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09" name="Text Placeholder 93">
            <a:extLst>
              <a:ext uri="{FF2B5EF4-FFF2-40B4-BE49-F238E27FC236}">
                <a16:creationId xmlns:a16="http://schemas.microsoft.com/office/drawing/2014/main" id="{6C0BE76F-BE7B-F651-6B31-5A7DC7A6FA60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5271902" y="5508103"/>
            <a:ext cx="1664449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0" name="Text Placeholder 93">
            <a:extLst>
              <a:ext uri="{FF2B5EF4-FFF2-40B4-BE49-F238E27FC236}">
                <a16:creationId xmlns:a16="http://schemas.microsoft.com/office/drawing/2014/main" id="{3CF31372-3F13-2091-43FA-AA9360F12A5F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5271902" y="6072725"/>
            <a:ext cx="1664449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1" name="Text Placeholder 93">
            <a:extLst>
              <a:ext uri="{FF2B5EF4-FFF2-40B4-BE49-F238E27FC236}">
                <a16:creationId xmlns:a16="http://schemas.microsoft.com/office/drawing/2014/main" id="{FF36B931-9DC3-70C9-C278-99B2CC6C6186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7721545" y="2684983"/>
            <a:ext cx="1604506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2" name="Text Placeholder 93">
            <a:extLst>
              <a:ext uri="{FF2B5EF4-FFF2-40B4-BE49-F238E27FC236}">
                <a16:creationId xmlns:a16="http://schemas.microsoft.com/office/drawing/2014/main" id="{B9D6764C-A651-0B55-BB9F-B0CF5A14858C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7721545" y="3249609"/>
            <a:ext cx="1604506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3" name="Text Placeholder 93">
            <a:extLst>
              <a:ext uri="{FF2B5EF4-FFF2-40B4-BE49-F238E27FC236}">
                <a16:creationId xmlns:a16="http://schemas.microsoft.com/office/drawing/2014/main" id="{0B1C28A4-DA43-DEF5-4F95-AD7548E14568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7721545" y="3814232"/>
            <a:ext cx="1604506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4" name="Text Placeholder 93">
            <a:extLst>
              <a:ext uri="{FF2B5EF4-FFF2-40B4-BE49-F238E27FC236}">
                <a16:creationId xmlns:a16="http://schemas.microsoft.com/office/drawing/2014/main" id="{DFC3142A-373D-DD46-8C20-F2C50CE227F9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7721545" y="4378856"/>
            <a:ext cx="1604506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5" name="Text Placeholder 93">
            <a:extLst>
              <a:ext uri="{FF2B5EF4-FFF2-40B4-BE49-F238E27FC236}">
                <a16:creationId xmlns:a16="http://schemas.microsoft.com/office/drawing/2014/main" id="{48CAD54E-B543-9283-3B90-F2EF5CFB40D4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7721545" y="4943479"/>
            <a:ext cx="1604506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6" name="Text Placeholder 93">
            <a:extLst>
              <a:ext uri="{FF2B5EF4-FFF2-40B4-BE49-F238E27FC236}">
                <a16:creationId xmlns:a16="http://schemas.microsoft.com/office/drawing/2014/main" id="{5B1CE3BB-90C9-1D87-2276-E869F211D925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7721545" y="5508103"/>
            <a:ext cx="1604506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7" name="Text Placeholder 93">
            <a:extLst>
              <a:ext uri="{FF2B5EF4-FFF2-40B4-BE49-F238E27FC236}">
                <a16:creationId xmlns:a16="http://schemas.microsoft.com/office/drawing/2014/main" id="{CC3ED0DF-684E-9BA4-4C61-399389BC4A5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10067159" y="2684983"/>
            <a:ext cx="1648592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8" name="Text Placeholder 93">
            <a:extLst>
              <a:ext uri="{FF2B5EF4-FFF2-40B4-BE49-F238E27FC236}">
                <a16:creationId xmlns:a16="http://schemas.microsoft.com/office/drawing/2014/main" id="{3DF34DD9-15E7-7CCD-AC8A-1E2C3C12B94B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10067159" y="3249609"/>
            <a:ext cx="1648592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19" name="Text Placeholder 93">
            <a:extLst>
              <a:ext uri="{FF2B5EF4-FFF2-40B4-BE49-F238E27FC236}">
                <a16:creationId xmlns:a16="http://schemas.microsoft.com/office/drawing/2014/main" id="{C1A3F840-FD7A-0F17-FEA0-657566970EFB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>
            <a:off x="10067159" y="3814232"/>
            <a:ext cx="1648592" cy="458364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b="0" dirty="0" smtClean="0">
                <a:solidFill>
                  <a:schemeClr val="tx1"/>
                </a:solidFill>
                <a:cs typeface="Calibri" panose="020F0502020204030204" pitchFamily="34" charset="0"/>
              </a:defRPr>
            </a:lvl1pPr>
            <a:lvl2pPr marL="171450" indent="0">
              <a:buNone/>
              <a:defRPr lang="en-US" sz="900" dirty="0" smtClean="0">
                <a:solidFill>
                  <a:schemeClr val="tx1"/>
                </a:solidFill>
              </a:defRPr>
            </a:lvl2pPr>
            <a:lvl3pPr marL="685800" indent="0">
              <a:buNone/>
              <a:defRPr lang="en-US" sz="900" dirty="0" smtClean="0">
                <a:solidFill>
                  <a:schemeClr val="tx1"/>
                </a:solidFill>
              </a:defRPr>
            </a:lvl3pPr>
            <a:lvl4pPr marL="1143000" indent="0">
              <a:buNone/>
              <a:defRPr lang="en-US" sz="900" dirty="0" smtClean="0">
                <a:solidFill>
                  <a:schemeClr val="tx1"/>
                </a:solidFill>
              </a:defRPr>
            </a:lvl4pPr>
            <a:lvl5pPr marL="1600200" indent="0">
              <a:buNone/>
              <a:defRPr lang="en-US" sz="900" dirty="0">
                <a:solidFill>
                  <a:schemeClr val="tx1"/>
                </a:solidFill>
              </a:defRPr>
            </a:lvl5pPr>
          </a:lstStyle>
          <a:p>
            <a:pPr marL="0" lvl="0" defTabSz="444446">
              <a:spcAft>
                <a:spcPts val="15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6" name="Picture 5" descr="A blue sign with white text&#10;&#10;AI-generated content may be incorrect.">
            <a:extLst>
              <a:ext uri="{FF2B5EF4-FFF2-40B4-BE49-F238E27FC236}">
                <a16:creationId xmlns:a16="http://schemas.microsoft.com/office/drawing/2014/main" id="{7B7AF94F-8219-5128-CB1D-F9CDB0CCEF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43564" y="211545"/>
            <a:ext cx="1297342" cy="79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0752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25E3AE-C084-8F6C-631B-D5C5B3A1E4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625992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24" imgH="425" progId="TCLayout.ActiveDocument.1">
                  <p:embed/>
                </p:oleObj>
              </mc:Choice>
              <mc:Fallback>
                <p:oleObj name="think-cell Slide" r:id="rId28" imgW="424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25E3AE-C084-8F6C-631B-D5C5B3A1E4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7C2FEA-412C-2C25-F629-F5713BE83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6" y="365125"/>
            <a:ext cx="11515727" cy="10953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513F80-4BC7-6D75-7992-E9F1DE0F7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136" y="1625600"/>
            <a:ext cx="11515727" cy="4732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312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55" r:id="rId2"/>
    <p:sldLayoutId id="2147483649" r:id="rId3"/>
    <p:sldLayoutId id="2147483701" r:id="rId4"/>
    <p:sldLayoutId id="2147483667" r:id="rId5"/>
    <p:sldLayoutId id="2147483668" r:id="rId6"/>
    <p:sldLayoutId id="2147483650" r:id="rId7"/>
    <p:sldLayoutId id="2147483672" r:id="rId8"/>
    <p:sldLayoutId id="2147483684" r:id="rId9"/>
    <p:sldLayoutId id="2147483673" r:id="rId10"/>
    <p:sldLayoutId id="2147483704" r:id="rId11"/>
    <p:sldLayoutId id="2147483674" r:id="rId12"/>
    <p:sldLayoutId id="2147483702" r:id="rId13"/>
    <p:sldLayoutId id="2147483706" r:id="rId14"/>
    <p:sldLayoutId id="2147483685" r:id="rId15"/>
    <p:sldLayoutId id="2147483677" r:id="rId16"/>
    <p:sldLayoutId id="2147483709" r:id="rId17"/>
    <p:sldLayoutId id="2147483711" r:id="rId18"/>
    <p:sldLayoutId id="2147483681" r:id="rId19"/>
    <p:sldLayoutId id="2147483703" r:id="rId20"/>
    <p:sldLayoutId id="2147483680" r:id="rId21"/>
    <p:sldLayoutId id="2147483715" r:id="rId22"/>
    <p:sldLayoutId id="2147483713" r:id="rId23"/>
    <p:sldLayoutId id="2147483671" r:id="rId24"/>
    <p:sldLayoutId id="2147483759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20" userDrawn="1">
          <p15:clr>
            <a:srgbClr val="F26B43"/>
          </p15:clr>
        </p15:guide>
        <p15:guide id="2" pos="213" userDrawn="1">
          <p15:clr>
            <a:srgbClr val="F26B43"/>
          </p15:clr>
        </p15:guide>
        <p15:guide id="3" pos="7459" userDrawn="1">
          <p15:clr>
            <a:srgbClr val="F26B43"/>
          </p15:clr>
        </p15:guide>
        <p15:guide id="4" orient="horz" pos="1021" userDrawn="1">
          <p15:clr>
            <a:srgbClr val="F26B43"/>
          </p15:clr>
        </p15:guide>
        <p15:guide id="5" orient="horz" pos="400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25E3AE-C084-8F6C-631B-D5C5B3A1E4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25992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24" imgH="425" progId="TCLayout.ActiveDocument.1">
                  <p:embed/>
                </p:oleObj>
              </mc:Choice>
              <mc:Fallback>
                <p:oleObj name="think-cell Slide" r:id="rId24" imgW="424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25E3AE-C084-8F6C-631B-D5C5B3A1E4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7C2FEA-412C-2C25-F629-F5713BE83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6" y="365125"/>
            <a:ext cx="11515727" cy="10953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513F80-4BC7-6D75-7992-E9F1DE0F7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8136" y="1625600"/>
            <a:ext cx="11515727" cy="4732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27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5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38" r:id="rId12"/>
    <p:sldLayoutId id="2147483739" r:id="rId13"/>
    <p:sldLayoutId id="214748374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20">
          <p15:clr>
            <a:srgbClr val="F26B43"/>
          </p15:clr>
        </p15:guide>
        <p15:guide id="2" pos="213">
          <p15:clr>
            <a:srgbClr val="F26B43"/>
          </p15:clr>
        </p15:guide>
        <p15:guide id="3" pos="7459">
          <p15:clr>
            <a:srgbClr val="F26B43"/>
          </p15:clr>
        </p15:guide>
        <p15:guide id="4" orient="horz" pos="1021">
          <p15:clr>
            <a:srgbClr val="F26B43"/>
          </p15:clr>
        </p15:guide>
        <p15:guide id="5" orient="horz" pos="400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PLL-Intern-Challange-2026/document-extraction-template-repo" TargetMode="External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3945B-7643-A9DC-24F4-3855B5C196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973" y="3429000"/>
            <a:ext cx="4434940" cy="776978"/>
          </a:xfrm>
        </p:spPr>
        <p:txBody>
          <a:bodyPr/>
          <a:lstStyle/>
          <a:p>
            <a:r>
              <a:rPr lang="en-US" dirty="0"/>
              <a:t>APLL INTERN CHALLENGE – 2025-26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48AA49-A195-046D-1F8E-6B117EDFA7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PA COE</a:t>
            </a:r>
          </a:p>
        </p:txBody>
      </p:sp>
    </p:spTree>
    <p:extLst>
      <p:ext uri="{BB962C8B-B14F-4D97-AF65-F5344CB8AC3E}">
        <p14:creationId xmlns:p14="http://schemas.microsoft.com/office/powerpoint/2010/main" val="2923905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6DE32C-DF26-6A62-3239-46026C4FA6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B5436BD-8B36-F185-7A8B-083E54AAD1D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8138" y="395063"/>
            <a:ext cx="1027271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tep 7: Go to your org p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D05D1-7476-B216-B474-E74600A6E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941" y="889000"/>
            <a:ext cx="11473543" cy="566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272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C63010-26F4-2F51-FA31-CD6978293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68DF80E-02C5-55D9-F13B-EB53D62C28F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8138" y="395063"/>
            <a:ext cx="1027271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tep 8: Accept the invite from the org and then for assign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3FDE7CB-B903-47D4-5580-71A7124F17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806" y="1302113"/>
            <a:ext cx="5352480" cy="24791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B80A07D-D464-E6BA-62BA-CF28B36B0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8286" y="1067957"/>
            <a:ext cx="6458782" cy="271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5842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DF1E9-58E5-E40B-7876-C757E77FC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FF8894-C625-C3D8-F7A2-23A7C16BF49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8138" y="395063"/>
            <a:ext cx="1027271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tep 9: Your repo is now creat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945A22-9715-CF05-85F6-742A79F9A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38" y="1262766"/>
            <a:ext cx="10759224" cy="4495777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7C9AD2FA-3903-FE9D-A253-AEC9D64DD309}"/>
              </a:ext>
            </a:extLst>
          </p:cNvPr>
          <p:cNvSpPr txBox="1">
            <a:spLocks/>
          </p:cNvSpPr>
          <p:nvPr/>
        </p:nvSpPr>
        <p:spPr>
          <a:xfrm>
            <a:off x="696685" y="5850649"/>
            <a:ext cx="10874829" cy="66479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                                Your repo is always accessible via the org page</a:t>
            </a:r>
          </a:p>
          <a:p>
            <a:r>
              <a:rPr lang="en-US" sz="2400" dirty="0"/>
              <a:t>****Please go through the README.md thoroughly before you start the exercise****</a:t>
            </a:r>
          </a:p>
        </p:txBody>
      </p:sp>
    </p:spTree>
    <p:extLst>
      <p:ext uri="{BB962C8B-B14F-4D97-AF65-F5344CB8AC3E}">
        <p14:creationId xmlns:p14="http://schemas.microsoft.com/office/powerpoint/2010/main" val="14212103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60919-94F6-9900-7C3E-B6CF118CD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case of issu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3228BA-DC75-F889-7C4E-22B914D608A5}"/>
              </a:ext>
            </a:extLst>
          </p:cNvPr>
          <p:cNvSpPr txBox="1"/>
          <p:nvPr/>
        </p:nvSpPr>
        <p:spPr>
          <a:xfrm>
            <a:off x="598714" y="1519392"/>
            <a:ext cx="1159328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Visit our public template repository and raise issue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Your issues will be public so everyone will be able to see it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Raise issue only if it is very critical and stops you to proceed further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Template </a:t>
            </a:r>
            <a:r>
              <a:rPr lang="en-US" sz="2800" dirty="0">
                <a:solidFill>
                  <a:schemeClr val="accent1"/>
                </a:solidFill>
                <a:hlinkClick r:id="rId2"/>
              </a:rPr>
              <a:t>repository link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591210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27275-967C-015F-8F93-553904D54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686" y="228600"/>
            <a:ext cx="9771970" cy="717332"/>
          </a:xfrm>
        </p:spPr>
        <p:txBody>
          <a:bodyPr>
            <a:normAutofit/>
          </a:bodyPr>
          <a:lstStyle/>
          <a:p>
            <a:r>
              <a:rPr lang="en-US" sz="2800" dirty="0"/>
              <a:t>Prerequisi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0A728A-1A8C-967F-690D-1744F96426AB}"/>
              </a:ext>
            </a:extLst>
          </p:cNvPr>
          <p:cNvSpPr txBox="1"/>
          <p:nvPr/>
        </p:nvSpPr>
        <p:spPr>
          <a:xfrm>
            <a:off x="78658" y="1598049"/>
            <a:ext cx="11887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You need a GitHub account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This account should have been created with the email id</a:t>
            </a:r>
          </a:p>
          <a:p>
            <a:r>
              <a:rPr lang="en-US" sz="2800" dirty="0">
                <a:solidFill>
                  <a:schemeClr val="accent1"/>
                </a:solidFill>
              </a:rPr>
              <a:t>        you have given to u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1"/>
                </a:solidFill>
              </a:rPr>
              <a:t>Student is expected to know how to work with GitHub.</a:t>
            </a:r>
          </a:p>
        </p:txBody>
      </p:sp>
    </p:spTree>
    <p:extLst>
      <p:ext uri="{BB962C8B-B14F-4D97-AF65-F5344CB8AC3E}">
        <p14:creationId xmlns:p14="http://schemas.microsoft.com/office/powerpoint/2010/main" val="190291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C75FBD-B8CB-277B-85F7-F22A644C3F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255565-6D24-1973-BE19-70CA384EB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Follow</a:t>
            </a:r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9B2DD7-9F6C-C9E7-C855-55A4AEF80F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400" dirty="0">
                <a:solidFill>
                  <a:schemeClr val="accent1"/>
                </a:solidFill>
              </a:rPr>
              <a:t>  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753806E-1526-5E39-723B-98DB3E9DF76A}"/>
              </a:ext>
            </a:extLst>
          </p:cNvPr>
          <p:cNvSpPr/>
          <p:nvPr/>
        </p:nvSpPr>
        <p:spPr>
          <a:xfrm>
            <a:off x="3969101" y="1660830"/>
            <a:ext cx="4250548" cy="4250548"/>
          </a:xfrm>
          <a:custGeom>
            <a:avLst/>
            <a:gdLst>
              <a:gd name="connsiteX0" fmla="*/ 3187912 w 3187911"/>
              <a:gd name="connsiteY0" fmla="*/ 1593956 h 3187911"/>
              <a:gd name="connsiteX1" fmla="*/ 1593956 w 3187911"/>
              <a:gd name="connsiteY1" fmla="*/ 3187912 h 3187911"/>
              <a:gd name="connsiteX2" fmla="*/ 0 w 3187911"/>
              <a:gd name="connsiteY2" fmla="*/ 1593956 h 3187911"/>
              <a:gd name="connsiteX3" fmla="*/ 1593956 w 3187911"/>
              <a:gd name="connsiteY3" fmla="*/ 0 h 3187911"/>
              <a:gd name="connsiteX4" fmla="*/ 3187912 w 3187911"/>
              <a:gd name="connsiteY4" fmla="*/ 1593956 h 3187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7911" h="3187911">
                <a:moveTo>
                  <a:pt x="3187912" y="1593956"/>
                </a:moveTo>
                <a:cubicBezTo>
                  <a:pt x="3187912" y="2474274"/>
                  <a:pt x="2474274" y="3187912"/>
                  <a:pt x="1593956" y="3187912"/>
                </a:cubicBezTo>
                <a:cubicBezTo>
                  <a:pt x="713639" y="3187912"/>
                  <a:pt x="0" y="2474274"/>
                  <a:pt x="0" y="1593956"/>
                </a:cubicBezTo>
                <a:cubicBezTo>
                  <a:pt x="0" y="713638"/>
                  <a:pt x="713639" y="0"/>
                  <a:pt x="1593956" y="0"/>
                </a:cubicBezTo>
                <a:cubicBezTo>
                  <a:pt x="2474274" y="0"/>
                  <a:pt x="3187912" y="713638"/>
                  <a:pt x="3187912" y="1593956"/>
                </a:cubicBezTo>
                <a:close/>
              </a:path>
            </a:pathLst>
          </a:custGeom>
          <a:noFill/>
          <a:ln w="12173" cap="flat">
            <a:solidFill>
              <a:schemeClr val="tx1">
                <a:lumMod val="50000"/>
                <a:lumOff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 sz="1400">
              <a:solidFill>
                <a:schemeClr val="accent1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36DD0C8-A27E-A3AC-71D6-381D39EFDB2E}"/>
              </a:ext>
            </a:extLst>
          </p:cNvPr>
          <p:cNvGrpSpPr/>
          <p:nvPr/>
        </p:nvGrpSpPr>
        <p:grpSpPr>
          <a:xfrm>
            <a:off x="4394935" y="2084942"/>
            <a:ext cx="3398877" cy="3402325"/>
            <a:chOff x="888347" y="1187607"/>
            <a:chExt cx="3304685" cy="1574800"/>
          </a:xfrm>
        </p:grpSpPr>
        <p:sp>
          <p:nvSpPr>
            <p:cNvPr id="29" name="Rounded Rectangle 4">
              <a:extLst>
                <a:ext uri="{FF2B5EF4-FFF2-40B4-BE49-F238E27FC236}">
                  <a16:creationId xmlns:a16="http://schemas.microsoft.com/office/drawing/2014/main" id="{D72B0D05-AFAE-CDED-DE69-6234D54C529A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30" name="Rounded Rectangle 4">
              <a:extLst>
                <a:ext uri="{FF2B5EF4-FFF2-40B4-BE49-F238E27FC236}">
                  <a16:creationId xmlns:a16="http://schemas.microsoft.com/office/drawing/2014/main" id="{5466C5F4-B533-44E4-04E8-03AE7038B108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95000"/>
                    <a:alpha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8E9C4E4-0FD8-17EE-F281-6EC69F11C2C8}"/>
              </a:ext>
            </a:extLst>
          </p:cNvPr>
          <p:cNvGrpSpPr/>
          <p:nvPr/>
        </p:nvGrpSpPr>
        <p:grpSpPr>
          <a:xfrm>
            <a:off x="4360589" y="2052320"/>
            <a:ext cx="462019" cy="462019"/>
            <a:chOff x="3270442" y="1546860"/>
            <a:chExt cx="346514" cy="346514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099B430-17D1-AEEB-CD02-60D05BCE62A5}"/>
                </a:ext>
              </a:extLst>
            </p:cNvPr>
            <p:cNvSpPr/>
            <p:nvPr/>
          </p:nvSpPr>
          <p:spPr>
            <a:xfrm>
              <a:off x="3270442" y="1546860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1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>
                <a:solidFill>
                  <a:schemeClr val="accent1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621BE04-7706-6B3C-18D1-14209183FCFB}"/>
                </a:ext>
              </a:extLst>
            </p:cNvPr>
            <p:cNvSpPr/>
            <p:nvPr/>
          </p:nvSpPr>
          <p:spPr>
            <a:xfrm>
              <a:off x="3296323" y="1572741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1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5243AFE-2177-9669-31E4-6E97F4900E93}"/>
              </a:ext>
            </a:extLst>
          </p:cNvPr>
          <p:cNvGrpSpPr/>
          <p:nvPr/>
        </p:nvGrpSpPr>
        <p:grpSpPr>
          <a:xfrm>
            <a:off x="3810579" y="3005085"/>
            <a:ext cx="462019" cy="462019"/>
            <a:chOff x="2857934" y="2261434"/>
            <a:chExt cx="346514" cy="34651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F1BB378-F227-1A4A-C4DB-E0FADA586790}"/>
                </a:ext>
              </a:extLst>
            </p:cNvPr>
            <p:cNvSpPr/>
            <p:nvPr/>
          </p:nvSpPr>
          <p:spPr>
            <a:xfrm>
              <a:off x="2857934" y="2261434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2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>
                <a:solidFill>
                  <a:schemeClr val="accent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95092E3-FC8E-7A8B-024A-B5E768E2FF2C}"/>
                </a:ext>
              </a:extLst>
            </p:cNvPr>
            <p:cNvSpPr/>
            <p:nvPr/>
          </p:nvSpPr>
          <p:spPr>
            <a:xfrm>
              <a:off x="2883815" y="2287315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2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59E0BC3-8FDE-B565-5473-3C4A4C5EE19D}"/>
              </a:ext>
            </a:extLst>
          </p:cNvPr>
          <p:cNvGrpSpPr/>
          <p:nvPr/>
        </p:nvGrpSpPr>
        <p:grpSpPr>
          <a:xfrm>
            <a:off x="3810579" y="4105267"/>
            <a:ext cx="462019" cy="462019"/>
            <a:chOff x="2857934" y="3086570"/>
            <a:chExt cx="346514" cy="34651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C8C61A8-FA66-ECEE-963F-A7A735192C6C}"/>
                </a:ext>
              </a:extLst>
            </p:cNvPr>
            <p:cNvSpPr/>
            <p:nvPr/>
          </p:nvSpPr>
          <p:spPr>
            <a:xfrm>
              <a:off x="2857934" y="3086570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3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1456CF0-542F-5B29-B5AD-882B94CE3FD2}"/>
                </a:ext>
              </a:extLst>
            </p:cNvPr>
            <p:cNvSpPr/>
            <p:nvPr/>
          </p:nvSpPr>
          <p:spPr>
            <a:xfrm>
              <a:off x="2883815" y="3112451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3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DC862F-AB35-3396-B284-CD6179A4B2B5}"/>
              </a:ext>
            </a:extLst>
          </p:cNvPr>
          <p:cNvGrpSpPr/>
          <p:nvPr/>
        </p:nvGrpSpPr>
        <p:grpSpPr>
          <a:xfrm>
            <a:off x="4360589" y="5058032"/>
            <a:ext cx="462019" cy="462019"/>
            <a:chOff x="3270442" y="3801144"/>
            <a:chExt cx="346514" cy="34651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4346D76-10E4-3F43-82FA-3F11AA5F6F22}"/>
                </a:ext>
              </a:extLst>
            </p:cNvPr>
            <p:cNvSpPr/>
            <p:nvPr/>
          </p:nvSpPr>
          <p:spPr>
            <a:xfrm>
              <a:off x="3270442" y="3801144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4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58E6AE1-B2F7-2E04-B52B-10D3BF5FFF2B}"/>
                </a:ext>
              </a:extLst>
            </p:cNvPr>
            <p:cNvSpPr/>
            <p:nvPr/>
          </p:nvSpPr>
          <p:spPr>
            <a:xfrm>
              <a:off x="3296323" y="3827025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4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6506451-307B-28B5-AD14-9F434E73DF1E}"/>
              </a:ext>
            </a:extLst>
          </p:cNvPr>
          <p:cNvGrpSpPr/>
          <p:nvPr/>
        </p:nvGrpSpPr>
        <p:grpSpPr>
          <a:xfrm>
            <a:off x="8901853" y="1919979"/>
            <a:ext cx="2773059" cy="726701"/>
            <a:chOff x="5562600" y="1328376"/>
            <a:chExt cx="1601786" cy="1602796"/>
          </a:xfrm>
        </p:grpSpPr>
        <p:sp>
          <p:nvSpPr>
            <p:cNvPr id="56" name="Oval 11">
              <a:extLst>
                <a:ext uri="{FF2B5EF4-FFF2-40B4-BE49-F238E27FC236}">
                  <a16:creationId xmlns:a16="http://schemas.microsoft.com/office/drawing/2014/main" id="{9E6B4A2C-263A-93E2-73E6-3045ECA31C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D2B686E-1F0C-48A4-927E-71EE04EA70CC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3F3F92BB-BD26-CF86-F7DF-B63AB41E47B7}"/>
              </a:ext>
            </a:extLst>
          </p:cNvPr>
          <p:cNvCxnSpPr>
            <a:cxnSpLocks/>
          </p:cNvCxnSpPr>
          <p:nvPr/>
        </p:nvCxnSpPr>
        <p:spPr>
          <a:xfrm>
            <a:off x="7874000" y="2283329"/>
            <a:ext cx="99568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858E36FC-EBF7-BB4F-F10C-5829C4EF0D01}"/>
              </a:ext>
            </a:extLst>
          </p:cNvPr>
          <p:cNvSpPr/>
          <p:nvPr/>
        </p:nvSpPr>
        <p:spPr>
          <a:xfrm rot="10800000" flipV="1">
            <a:off x="9157236" y="2175607"/>
            <a:ext cx="2262293" cy="21544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Ignore the Error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C2312BB-D424-DB16-77FB-ADC62C52EF9F}"/>
              </a:ext>
            </a:extLst>
          </p:cNvPr>
          <p:cNvGrpSpPr/>
          <p:nvPr/>
        </p:nvGrpSpPr>
        <p:grpSpPr>
          <a:xfrm>
            <a:off x="8901853" y="2872744"/>
            <a:ext cx="2773059" cy="726701"/>
            <a:chOff x="5562600" y="1328376"/>
            <a:chExt cx="1601786" cy="1602796"/>
          </a:xfrm>
        </p:grpSpPr>
        <p:sp>
          <p:nvSpPr>
            <p:cNvPr id="67" name="Oval 11">
              <a:extLst>
                <a:ext uri="{FF2B5EF4-FFF2-40B4-BE49-F238E27FC236}">
                  <a16:creationId xmlns:a16="http://schemas.microsoft.com/office/drawing/2014/main" id="{716B0E81-B177-69FC-51A1-6E3827EC4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68" name="Rectangle 56">
              <a:extLst>
                <a:ext uri="{FF2B5EF4-FFF2-40B4-BE49-F238E27FC236}">
                  <a16:creationId xmlns:a16="http://schemas.microsoft.com/office/drawing/2014/main" id="{9F2E2820-229B-AA30-9C93-DD2AC7416FE8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C9DB32E4-6BAE-83E7-0A4B-D9FE145068BF}"/>
              </a:ext>
            </a:extLst>
          </p:cNvPr>
          <p:cNvCxnSpPr>
            <a:cxnSpLocks/>
          </p:cNvCxnSpPr>
          <p:nvPr/>
        </p:nvCxnSpPr>
        <p:spPr>
          <a:xfrm>
            <a:off x="8417560" y="3236095"/>
            <a:ext cx="49784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2455FEE4-92E9-D859-E8E4-5D04EF0788DB}"/>
              </a:ext>
            </a:extLst>
          </p:cNvPr>
          <p:cNvSpPr/>
          <p:nvPr/>
        </p:nvSpPr>
        <p:spPr>
          <a:xfrm rot="10800000" flipV="1">
            <a:off x="9157236" y="3128373"/>
            <a:ext cx="2262293" cy="21544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Go to  your GitHub home pag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EDECA9D-5B62-0912-09C4-9BA571BBD71D}"/>
              </a:ext>
            </a:extLst>
          </p:cNvPr>
          <p:cNvGrpSpPr/>
          <p:nvPr/>
        </p:nvGrpSpPr>
        <p:grpSpPr>
          <a:xfrm>
            <a:off x="8901853" y="3972926"/>
            <a:ext cx="2773059" cy="726701"/>
            <a:chOff x="5562600" y="1328376"/>
            <a:chExt cx="1601786" cy="1602796"/>
          </a:xfrm>
        </p:grpSpPr>
        <p:sp>
          <p:nvSpPr>
            <p:cNvPr id="75" name="Oval 11">
              <a:extLst>
                <a:ext uri="{FF2B5EF4-FFF2-40B4-BE49-F238E27FC236}">
                  <a16:creationId xmlns:a16="http://schemas.microsoft.com/office/drawing/2014/main" id="{7ADF9E89-51E9-1F71-04D8-EBC5BB5CF7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76" name="Rectangle 56">
              <a:extLst>
                <a:ext uri="{FF2B5EF4-FFF2-40B4-BE49-F238E27FC236}">
                  <a16:creationId xmlns:a16="http://schemas.microsoft.com/office/drawing/2014/main" id="{3D1990A0-826A-E4C7-C8AF-FBEABD80836D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14232FB7-67F5-0E9A-B725-B4FEC71CF3D2}"/>
              </a:ext>
            </a:extLst>
          </p:cNvPr>
          <p:cNvCxnSpPr>
            <a:cxnSpLocks/>
          </p:cNvCxnSpPr>
          <p:nvPr/>
        </p:nvCxnSpPr>
        <p:spPr>
          <a:xfrm>
            <a:off x="8417560" y="4336276"/>
            <a:ext cx="49784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6EB1EEFD-D5BB-AA4F-4339-7078DAE708DA}"/>
              </a:ext>
            </a:extLst>
          </p:cNvPr>
          <p:cNvSpPr/>
          <p:nvPr/>
        </p:nvSpPr>
        <p:spPr>
          <a:xfrm rot="10800000" flipV="1">
            <a:off x="9167745" y="4120834"/>
            <a:ext cx="2404144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Top right &gt; Profile Icon &gt; Organization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F09376E-B6C7-DDBB-1F7A-A6BF1BF52385}"/>
              </a:ext>
            </a:extLst>
          </p:cNvPr>
          <p:cNvGrpSpPr/>
          <p:nvPr/>
        </p:nvGrpSpPr>
        <p:grpSpPr>
          <a:xfrm>
            <a:off x="8901853" y="4924814"/>
            <a:ext cx="2773059" cy="726701"/>
            <a:chOff x="5562600" y="1328376"/>
            <a:chExt cx="1601786" cy="1602796"/>
          </a:xfrm>
        </p:grpSpPr>
        <p:sp>
          <p:nvSpPr>
            <p:cNvPr id="84" name="Oval 11">
              <a:extLst>
                <a:ext uri="{FF2B5EF4-FFF2-40B4-BE49-F238E27FC236}">
                  <a16:creationId xmlns:a16="http://schemas.microsoft.com/office/drawing/2014/main" id="{670F002C-3260-A89F-CDBF-7D328A9F2A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85" name="Rectangle 56">
              <a:extLst>
                <a:ext uri="{FF2B5EF4-FFF2-40B4-BE49-F238E27FC236}">
                  <a16:creationId xmlns:a16="http://schemas.microsoft.com/office/drawing/2014/main" id="{8F68EC18-425F-FFD5-E47C-7D801206B0EE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64E0FA66-9383-FC8E-4A32-3AD8F9995DF6}"/>
              </a:ext>
            </a:extLst>
          </p:cNvPr>
          <p:cNvCxnSpPr>
            <a:cxnSpLocks/>
          </p:cNvCxnSpPr>
          <p:nvPr/>
        </p:nvCxnSpPr>
        <p:spPr>
          <a:xfrm>
            <a:off x="7874000" y="5288164"/>
            <a:ext cx="99568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0A15D6D2-4F04-9FB6-207E-2C6C5858946F}"/>
              </a:ext>
            </a:extLst>
          </p:cNvPr>
          <p:cNvSpPr/>
          <p:nvPr/>
        </p:nvSpPr>
        <p:spPr>
          <a:xfrm rot="10800000" flipV="1">
            <a:off x="9157236" y="4964999"/>
            <a:ext cx="2262293" cy="64633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Click the organization and accept invite. Your Assignment Repo is now created.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70C3D66-C150-5B46-67A8-81DA2BA9CD20}"/>
              </a:ext>
            </a:extLst>
          </p:cNvPr>
          <p:cNvGrpSpPr/>
          <p:nvPr/>
        </p:nvGrpSpPr>
        <p:grpSpPr>
          <a:xfrm flipH="1">
            <a:off x="517095" y="1919979"/>
            <a:ext cx="2773059" cy="726701"/>
            <a:chOff x="5562600" y="1328376"/>
            <a:chExt cx="1601786" cy="1602796"/>
          </a:xfrm>
        </p:grpSpPr>
        <p:sp>
          <p:nvSpPr>
            <p:cNvPr id="90" name="Oval 11">
              <a:extLst>
                <a:ext uri="{FF2B5EF4-FFF2-40B4-BE49-F238E27FC236}">
                  <a16:creationId xmlns:a16="http://schemas.microsoft.com/office/drawing/2014/main" id="{AE91D339-3A90-8A1A-5B78-B7F7DEA7A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91" name="Rectangle 56">
              <a:extLst>
                <a:ext uri="{FF2B5EF4-FFF2-40B4-BE49-F238E27FC236}">
                  <a16:creationId xmlns:a16="http://schemas.microsoft.com/office/drawing/2014/main" id="{E0DCEF38-11C2-0F83-F85C-ED5339BC6D83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F092A0CF-9DF5-5C79-BEA4-44D5FD5A0205}"/>
              </a:ext>
            </a:extLst>
          </p:cNvPr>
          <p:cNvCxnSpPr>
            <a:cxnSpLocks/>
          </p:cNvCxnSpPr>
          <p:nvPr/>
        </p:nvCxnSpPr>
        <p:spPr>
          <a:xfrm flipH="1">
            <a:off x="3322327" y="2283329"/>
            <a:ext cx="99568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11E3BEF0-6D41-864D-0A88-5550013E2A2F}"/>
              </a:ext>
            </a:extLst>
          </p:cNvPr>
          <p:cNvSpPr/>
          <p:nvPr/>
        </p:nvSpPr>
        <p:spPr>
          <a:xfrm rot="10800000" flipH="1" flipV="1">
            <a:off x="772478" y="2175607"/>
            <a:ext cx="2262293" cy="21544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US" sz="1400" dirty="0">
                <a:solidFill>
                  <a:schemeClr val="accent1"/>
                </a:solidFill>
              </a:rPr>
              <a:t>Log in to your GitHub Account 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FD5DA1A5-52A9-383C-EFCF-DDAA11F37972}"/>
              </a:ext>
            </a:extLst>
          </p:cNvPr>
          <p:cNvGrpSpPr/>
          <p:nvPr/>
        </p:nvGrpSpPr>
        <p:grpSpPr>
          <a:xfrm flipH="1">
            <a:off x="517095" y="2872744"/>
            <a:ext cx="2773059" cy="726701"/>
            <a:chOff x="5562600" y="1328376"/>
            <a:chExt cx="1601786" cy="1602796"/>
          </a:xfrm>
        </p:grpSpPr>
        <p:sp>
          <p:nvSpPr>
            <p:cNvPr id="96" name="Oval 11">
              <a:extLst>
                <a:ext uri="{FF2B5EF4-FFF2-40B4-BE49-F238E27FC236}">
                  <a16:creationId xmlns:a16="http://schemas.microsoft.com/office/drawing/2014/main" id="{CFB73162-F5A7-F34B-DA70-A41065A66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97" name="Rectangle 56">
              <a:extLst>
                <a:ext uri="{FF2B5EF4-FFF2-40B4-BE49-F238E27FC236}">
                  <a16:creationId xmlns:a16="http://schemas.microsoft.com/office/drawing/2014/main" id="{4AD3BADD-5843-598C-9F7F-E5F449750966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049882E-7522-8387-9DF9-F18659B093CF}"/>
              </a:ext>
            </a:extLst>
          </p:cNvPr>
          <p:cNvCxnSpPr>
            <a:cxnSpLocks/>
          </p:cNvCxnSpPr>
          <p:nvPr/>
        </p:nvCxnSpPr>
        <p:spPr>
          <a:xfrm flipH="1">
            <a:off x="3276607" y="3236095"/>
            <a:ext cx="49784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35F0DAA2-EEC9-C89F-62F3-6BC82F5BF731}"/>
              </a:ext>
            </a:extLst>
          </p:cNvPr>
          <p:cNvSpPr/>
          <p:nvPr/>
        </p:nvSpPr>
        <p:spPr>
          <a:xfrm rot="10800000" flipH="1" flipV="1">
            <a:off x="772478" y="3020652"/>
            <a:ext cx="2262293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US" sz="1400" dirty="0">
                <a:solidFill>
                  <a:schemeClr val="accent1"/>
                </a:solidFill>
              </a:rPr>
              <a:t>Open new tab, paste URL, press enter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1FECA46-D451-3EB8-4CF3-050BF6771AEE}"/>
              </a:ext>
            </a:extLst>
          </p:cNvPr>
          <p:cNvGrpSpPr/>
          <p:nvPr/>
        </p:nvGrpSpPr>
        <p:grpSpPr>
          <a:xfrm flipH="1">
            <a:off x="517095" y="3972926"/>
            <a:ext cx="2773059" cy="726701"/>
            <a:chOff x="5562600" y="1328376"/>
            <a:chExt cx="1601786" cy="1602796"/>
          </a:xfrm>
        </p:grpSpPr>
        <p:sp>
          <p:nvSpPr>
            <p:cNvPr id="102" name="Oval 11">
              <a:extLst>
                <a:ext uri="{FF2B5EF4-FFF2-40B4-BE49-F238E27FC236}">
                  <a16:creationId xmlns:a16="http://schemas.microsoft.com/office/drawing/2014/main" id="{A3E5D7B2-8876-98EF-1106-2308E018E2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103" name="Rectangle 56">
              <a:extLst>
                <a:ext uri="{FF2B5EF4-FFF2-40B4-BE49-F238E27FC236}">
                  <a16:creationId xmlns:a16="http://schemas.microsoft.com/office/drawing/2014/main" id="{865DF12B-BCE8-FCDF-37ED-2E655926DF84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B3666A54-51C7-23BA-C11D-A3F1261E43E0}"/>
              </a:ext>
            </a:extLst>
          </p:cNvPr>
          <p:cNvCxnSpPr>
            <a:cxnSpLocks/>
          </p:cNvCxnSpPr>
          <p:nvPr/>
        </p:nvCxnSpPr>
        <p:spPr>
          <a:xfrm flipH="1">
            <a:off x="3276607" y="4336276"/>
            <a:ext cx="49784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F0DEEAA-AB8D-8982-AEBF-7539EBBD5DE2}"/>
              </a:ext>
            </a:extLst>
          </p:cNvPr>
          <p:cNvSpPr/>
          <p:nvPr/>
        </p:nvSpPr>
        <p:spPr>
          <a:xfrm rot="10800000" flipH="1" flipV="1">
            <a:off x="772478" y="4120831"/>
            <a:ext cx="2262293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GB" sz="1400" dirty="0">
                <a:solidFill>
                  <a:schemeClr val="accent1"/>
                </a:solidFill>
              </a:rPr>
              <a:t>Click &amp; identify your email from the roster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74ECDCA7-9E85-A7AC-9F19-AF5C1E3D2FC7}"/>
              </a:ext>
            </a:extLst>
          </p:cNvPr>
          <p:cNvGrpSpPr/>
          <p:nvPr/>
        </p:nvGrpSpPr>
        <p:grpSpPr>
          <a:xfrm flipH="1">
            <a:off x="517095" y="4924814"/>
            <a:ext cx="2773059" cy="726701"/>
            <a:chOff x="5562600" y="1328376"/>
            <a:chExt cx="1601786" cy="1602796"/>
          </a:xfrm>
        </p:grpSpPr>
        <p:sp>
          <p:nvSpPr>
            <p:cNvPr id="108" name="Oval 11">
              <a:extLst>
                <a:ext uri="{FF2B5EF4-FFF2-40B4-BE49-F238E27FC236}">
                  <a16:creationId xmlns:a16="http://schemas.microsoft.com/office/drawing/2014/main" id="{BEF2430F-D3D6-7A72-79AC-52273D348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328376"/>
              <a:ext cx="1601786" cy="16027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109" name="Rectangle 56">
              <a:extLst>
                <a:ext uri="{FF2B5EF4-FFF2-40B4-BE49-F238E27FC236}">
                  <a16:creationId xmlns:a16="http://schemas.microsoft.com/office/drawing/2014/main" id="{81D02A13-4EBA-92C9-9141-5262D113A433}"/>
                </a:ext>
              </a:extLst>
            </p:cNvPr>
            <p:cNvSpPr/>
            <p:nvPr/>
          </p:nvSpPr>
          <p:spPr>
            <a:xfrm>
              <a:off x="5562600" y="1328376"/>
              <a:ext cx="1601786" cy="160113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10000"/>
                  </a:schemeClr>
                </a:gs>
                <a:gs pos="100000">
                  <a:schemeClr val="bg1">
                    <a:lumMod val="95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23548026-7BAE-05C5-8000-7D7B49683588}"/>
              </a:ext>
            </a:extLst>
          </p:cNvPr>
          <p:cNvCxnSpPr>
            <a:cxnSpLocks/>
          </p:cNvCxnSpPr>
          <p:nvPr/>
        </p:nvCxnSpPr>
        <p:spPr>
          <a:xfrm flipH="1">
            <a:off x="3322327" y="5288164"/>
            <a:ext cx="99568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25CABD7-59DD-17FC-A341-42CD74BEE6B9}"/>
              </a:ext>
            </a:extLst>
          </p:cNvPr>
          <p:cNvSpPr/>
          <p:nvPr/>
        </p:nvSpPr>
        <p:spPr>
          <a:xfrm rot="10800000" flipH="1" flipV="1">
            <a:off x="772478" y="5180442"/>
            <a:ext cx="2262293" cy="21544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US" sz="1400" dirty="0">
                <a:solidFill>
                  <a:schemeClr val="accent1"/>
                </a:solidFill>
              </a:rPr>
              <a:t>Accept  the assignment</a:t>
            </a:r>
          </a:p>
        </p:txBody>
      </p:sp>
      <p:pic>
        <p:nvPicPr>
          <p:cNvPr id="7" name="Picture 6" descr="A yellow sign with black text&#10;&#10;AI-generated content may be incorrect.">
            <a:extLst>
              <a:ext uri="{FF2B5EF4-FFF2-40B4-BE49-F238E27FC236}">
                <a16:creationId xmlns:a16="http://schemas.microsoft.com/office/drawing/2014/main" id="{28E34A90-7248-3DE3-116E-70BDE91F71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4996" y="2217682"/>
            <a:ext cx="3150694" cy="315069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7AA18D9-504E-7D46-C32E-7896288D7743}"/>
              </a:ext>
            </a:extLst>
          </p:cNvPr>
          <p:cNvSpPr txBox="1"/>
          <p:nvPr/>
        </p:nvSpPr>
        <p:spPr>
          <a:xfrm>
            <a:off x="3394841" y="61688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Now you can pull the repo, start working, and commit changes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6FBC8F-CFA6-737D-98AB-1E4FC5320DA2}"/>
              </a:ext>
            </a:extLst>
          </p:cNvPr>
          <p:cNvGrpSpPr/>
          <p:nvPr/>
        </p:nvGrpSpPr>
        <p:grpSpPr>
          <a:xfrm>
            <a:off x="7391400" y="2052320"/>
            <a:ext cx="462019" cy="462019"/>
            <a:chOff x="3270442" y="1546860"/>
            <a:chExt cx="346514" cy="346514"/>
          </a:xfrm>
        </p:grpSpPr>
        <p:sp>
          <p:nvSpPr>
            <p:cNvPr id="5" name="Freeform: Shape 15">
              <a:extLst>
                <a:ext uri="{FF2B5EF4-FFF2-40B4-BE49-F238E27FC236}">
                  <a16:creationId xmlns:a16="http://schemas.microsoft.com/office/drawing/2014/main" id="{79BE8C91-6C0C-8FAF-05E6-6822D899CF00}"/>
                </a:ext>
              </a:extLst>
            </p:cNvPr>
            <p:cNvSpPr/>
            <p:nvPr/>
          </p:nvSpPr>
          <p:spPr>
            <a:xfrm>
              <a:off x="3270442" y="1546860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1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>
                <a:solidFill>
                  <a:schemeClr val="accent1"/>
                </a:solidFill>
              </a:endParaRPr>
            </a:p>
          </p:txBody>
        </p:sp>
        <p:sp>
          <p:nvSpPr>
            <p:cNvPr id="6" name="Freeform: Shape 30">
              <a:extLst>
                <a:ext uri="{FF2B5EF4-FFF2-40B4-BE49-F238E27FC236}">
                  <a16:creationId xmlns:a16="http://schemas.microsoft.com/office/drawing/2014/main" id="{7AAB64A6-45EF-5273-BCED-A7179D242150}"/>
                </a:ext>
              </a:extLst>
            </p:cNvPr>
            <p:cNvSpPr/>
            <p:nvPr/>
          </p:nvSpPr>
          <p:spPr>
            <a:xfrm>
              <a:off x="3296323" y="1572741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5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F90C8F3-C606-7267-A503-A5DB3C0771E3}"/>
              </a:ext>
            </a:extLst>
          </p:cNvPr>
          <p:cNvGrpSpPr/>
          <p:nvPr/>
        </p:nvGrpSpPr>
        <p:grpSpPr>
          <a:xfrm>
            <a:off x="7924800" y="3005085"/>
            <a:ext cx="462019" cy="462019"/>
            <a:chOff x="2857934" y="2261434"/>
            <a:chExt cx="346514" cy="346514"/>
          </a:xfrm>
        </p:grpSpPr>
        <p:sp>
          <p:nvSpPr>
            <p:cNvPr id="10" name="Freeform: Shape 16">
              <a:extLst>
                <a:ext uri="{FF2B5EF4-FFF2-40B4-BE49-F238E27FC236}">
                  <a16:creationId xmlns:a16="http://schemas.microsoft.com/office/drawing/2014/main" id="{16D8AA9E-3DD6-6B8D-36A9-EF95F8BC3067}"/>
                </a:ext>
              </a:extLst>
            </p:cNvPr>
            <p:cNvSpPr/>
            <p:nvPr/>
          </p:nvSpPr>
          <p:spPr>
            <a:xfrm>
              <a:off x="2857934" y="2261434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2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>
                <a:solidFill>
                  <a:schemeClr val="accent1"/>
                </a:solidFill>
              </a:endParaRPr>
            </a:p>
          </p:txBody>
        </p:sp>
        <p:sp>
          <p:nvSpPr>
            <p:cNvPr id="11" name="Freeform: Shape 31">
              <a:extLst>
                <a:ext uri="{FF2B5EF4-FFF2-40B4-BE49-F238E27FC236}">
                  <a16:creationId xmlns:a16="http://schemas.microsoft.com/office/drawing/2014/main" id="{591DC0A9-EBFC-C1BD-63A9-FCB479C0E632}"/>
                </a:ext>
              </a:extLst>
            </p:cNvPr>
            <p:cNvSpPr/>
            <p:nvPr/>
          </p:nvSpPr>
          <p:spPr>
            <a:xfrm>
              <a:off x="2883815" y="2287315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6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4C82E51-DF90-7BC3-B50D-0D2A94803CB0}"/>
              </a:ext>
            </a:extLst>
          </p:cNvPr>
          <p:cNvGrpSpPr/>
          <p:nvPr/>
        </p:nvGrpSpPr>
        <p:grpSpPr>
          <a:xfrm>
            <a:off x="7924800" y="4105267"/>
            <a:ext cx="462019" cy="462019"/>
            <a:chOff x="2857934" y="3086570"/>
            <a:chExt cx="346514" cy="346514"/>
          </a:xfrm>
        </p:grpSpPr>
        <p:sp>
          <p:nvSpPr>
            <p:cNvPr id="13" name="Freeform: Shape 17">
              <a:extLst>
                <a:ext uri="{FF2B5EF4-FFF2-40B4-BE49-F238E27FC236}">
                  <a16:creationId xmlns:a16="http://schemas.microsoft.com/office/drawing/2014/main" id="{23043ADF-1EC1-6F59-A779-535D5F29DBCF}"/>
                </a:ext>
              </a:extLst>
            </p:cNvPr>
            <p:cNvSpPr/>
            <p:nvPr/>
          </p:nvSpPr>
          <p:spPr>
            <a:xfrm>
              <a:off x="2857934" y="3086570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3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" name="Freeform: Shape 32">
              <a:extLst>
                <a:ext uri="{FF2B5EF4-FFF2-40B4-BE49-F238E27FC236}">
                  <a16:creationId xmlns:a16="http://schemas.microsoft.com/office/drawing/2014/main" id="{A58119A8-3D20-1881-AB7D-39DF3CD1335D}"/>
                </a:ext>
              </a:extLst>
            </p:cNvPr>
            <p:cNvSpPr/>
            <p:nvPr/>
          </p:nvSpPr>
          <p:spPr>
            <a:xfrm>
              <a:off x="2883815" y="3112451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7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A8DFF75-82EE-7CB5-4107-8B47935CDD78}"/>
              </a:ext>
            </a:extLst>
          </p:cNvPr>
          <p:cNvGrpSpPr/>
          <p:nvPr/>
        </p:nvGrpSpPr>
        <p:grpSpPr>
          <a:xfrm>
            <a:off x="7391400" y="5058032"/>
            <a:ext cx="462019" cy="462019"/>
            <a:chOff x="3270442" y="3801144"/>
            <a:chExt cx="346514" cy="346514"/>
          </a:xfrm>
        </p:grpSpPr>
        <p:sp>
          <p:nvSpPr>
            <p:cNvPr id="25" name="Freeform: Shape 18">
              <a:extLst>
                <a:ext uri="{FF2B5EF4-FFF2-40B4-BE49-F238E27FC236}">
                  <a16:creationId xmlns:a16="http://schemas.microsoft.com/office/drawing/2014/main" id="{D0252E37-03EC-0E5A-A972-7D9C091CAC4E}"/>
                </a:ext>
              </a:extLst>
            </p:cNvPr>
            <p:cNvSpPr/>
            <p:nvPr/>
          </p:nvSpPr>
          <p:spPr>
            <a:xfrm>
              <a:off x="3270442" y="3801144"/>
              <a:ext cx="346514" cy="346514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solidFill>
              <a:schemeClr val="accent4"/>
            </a:solidFill>
            <a:ln w="121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6" name="Freeform: Shape 33">
              <a:extLst>
                <a:ext uri="{FF2B5EF4-FFF2-40B4-BE49-F238E27FC236}">
                  <a16:creationId xmlns:a16="http://schemas.microsoft.com/office/drawing/2014/main" id="{D547F0B9-197E-A8CB-3A8D-13D325E58B32}"/>
                </a:ext>
              </a:extLst>
            </p:cNvPr>
            <p:cNvSpPr/>
            <p:nvPr/>
          </p:nvSpPr>
          <p:spPr>
            <a:xfrm>
              <a:off x="3296323" y="3827025"/>
              <a:ext cx="294752" cy="294752"/>
            </a:xfrm>
            <a:custGeom>
              <a:avLst/>
              <a:gdLst>
                <a:gd name="connsiteX0" fmla="*/ 294753 w 294752"/>
                <a:gd name="connsiteY0" fmla="*/ 147376 h 294752"/>
                <a:gd name="connsiteX1" fmla="*/ 147376 w 294752"/>
                <a:gd name="connsiteY1" fmla="*/ 294753 h 294752"/>
                <a:gd name="connsiteX2" fmla="*/ 0 w 294752"/>
                <a:gd name="connsiteY2" fmla="*/ 147376 h 294752"/>
                <a:gd name="connsiteX3" fmla="*/ 147376 w 294752"/>
                <a:gd name="connsiteY3" fmla="*/ 0 h 294752"/>
                <a:gd name="connsiteX4" fmla="*/ 294753 w 294752"/>
                <a:gd name="connsiteY4" fmla="*/ 147376 h 294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2" h="294752">
                  <a:moveTo>
                    <a:pt x="294753" y="147376"/>
                  </a:moveTo>
                  <a:cubicBezTo>
                    <a:pt x="294753" y="228770"/>
                    <a:pt x="228770" y="294753"/>
                    <a:pt x="147376" y="294753"/>
                  </a:cubicBezTo>
                  <a:cubicBezTo>
                    <a:pt x="65983" y="294753"/>
                    <a:pt x="0" y="228770"/>
                    <a:pt x="0" y="147376"/>
                  </a:cubicBezTo>
                  <a:cubicBezTo>
                    <a:pt x="0" y="65983"/>
                    <a:pt x="65983" y="0"/>
                    <a:pt x="147376" y="0"/>
                  </a:cubicBezTo>
                  <a:cubicBezTo>
                    <a:pt x="228770" y="0"/>
                    <a:pt x="294753" y="65983"/>
                    <a:pt x="294753" y="1473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alpha val="20000"/>
                  </a:schemeClr>
                </a:gs>
                <a:gs pos="100000">
                  <a:schemeClr val="bg1">
                    <a:alpha val="1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8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9201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D60CA16-0609-0AF9-79FE-7F118684D6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479" y="1307490"/>
            <a:ext cx="10156371" cy="51977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1047BD-EA3E-CA43-8C81-7EABA639C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tep 1: Your home page may  look like belo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833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541B3-63E0-903C-E6F9-835A56B2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4A64A2-CD6A-2630-1AAF-4BE200ECB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tep 2: Paste the assignment URL and press ent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83360A-57CC-9E3C-3A5F-050AF4D41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37" y="1035824"/>
            <a:ext cx="10874149" cy="5190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99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0B561B-01B7-948A-91CC-6D833FB9C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F74DD0-B7F7-F9B4-2611-EB956F8CD2D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8137" y="395285"/>
            <a:ext cx="10272713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tep 3: Identify your email from the ro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C7BA31-5D2B-FDC8-1605-F24FFABA41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7036" y="1163508"/>
            <a:ext cx="11890898" cy="540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772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0A7B77-33EC-D766-867E-E731D1496C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C2E2FD3-C0FC-9616-4D3B-5ABDACD2C09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8138" y="395063"/>
            <a:ext cx="1027271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tep 4: Click and accept the assign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46A289-2E56-8644-0901-9AC716D2A1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000" y="1088572"/>
            <a:ext cx="11938000" cy="51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994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5552A5-0E4C-5D62-8F29-F7A0AE5A1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28C2E0-5D80-7C62-DC7E-232258EC6AB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8138" y="395063"/>
            <a:ext cx="1027271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tep 5: Ignore the access error shown belo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3F100F-2801-D140-E0A3-145187F60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320" y="751869"/>
            <a:ext cx="11681359" cy="496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806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ACE62-2FB3-26FC-A2A3-BC218B51C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153942-43A0-C7AA-6743-FF491B3571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8138" y="395063"/>
            <a:ext cx="10272712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tep 6: Click top right profile ic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B51D18-D8A1-3098-BD22-CAC68FDD05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38" y="1067665"/>
            <a:ext cx="11244943" cy="5537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228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LL Branded Template Slides">
  <a:themeElements>
    <a:clrScheme name="Custom 5">
      <a:dk1>
        <a:srgbClr val="101820"/>
      </a:dk1>
      <a:lt1>
        <a:srgbClr val="FFFFFF"/>
      </a:lt1>
      <a:dk2>
        <a:srgbClr val="898B8E"/>
      </a:dk2>
      <a:lt2>
        <a:srgbClr val="E8E8E8"/>
      </a:lt2>
      <a:accent1>
        <a:srgbClr val="001F60"/>
      </a:accent1>
      <a:accent2>
        <a:srgbClr val="9DDBEC"/>
      </a:accent2>
      <a:accent3>
        <a:srgbClr val="A32B22"/>
      </a:accent3>
      <a:accent4>
        <a:srgbClr val="E1A62D"/>
      </a:accent4>
      <a:accent5>
        <a:srgbClr val="DAD0B0"/>
      </a:accent5>
      <a:accent6>
        <a:srgbClr val="DAD9D7"/>
      </a:accent6>
      <a:hlink>
        <a:srgbClr val="E1A62D"/>
      </a:hlink>
      <a:folHlink>
        <a:srgbClr val="001E5C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PLL_PPT_Template_0805" id="{95C00F31-5F7E-2944-A107-009491EAE97C}" vid="{F34876CE-A157-9B47-B6F7-826608CBF14E}"/>
    </a:ext>
  </a:extLst>
</a:theme>
</file>

<file path=ppt/theme/theme2.xml><?xml version="1.0" encoding="utf-8"?>
<a:theme xmlns:a="http://schemas.openxmlformats.org/drawingml/2006/main" name="APLL Standard Template Slides">
  <a:themeElements>
    <a:clrScheme name="Custom 5">
      <a:dk1>
        <a:srgbClr val="101820"/>
      </a:dk1>
      <a:lt1>
        <a:srgbClr val="FFFFFF"/>
      </a:lt1>
      <a:dk2>
        <a:srgbClr val="898B8E"/>
      </a:dk2>
      <a:lt2>
        <a:srgbClr val="E8E8E8"/>
      </a:lt2>
      <a:accent1>
        <a:srgbClr val="001F60"/>
      </a:accent1>
      <a:accent2>
        <a:srgbClr val="9DDBEC"/>
      </a:accent2>
      <a:accent3>
        <a:srgbClr val="A32B22"/>
      </a:accent3>
      <a:accent4>
        <a:srgbClr val="E1A62D"/>
      </a:accent4>
      <a:accent5>
        <a:srgbClr val="DAD0B0"/>
      </a:accent5>
      <a:accent6>
        <a:srgbClr val="DAD9D7"/>
      </a:accent6>
      <a:hlink>
        <a:srgbClr val="E1A62D"/>
      </a:hlink>
      <a:folHlink>
        <a:srgbClr val="001E5C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PLL_PPT_Template_0805" id="{95C00F31-5F7E-2944-A107-009491EAE97C}" vid="{13C666F6-E139-1347-B35B-1DBB12EC502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eptDoc" ma:contentTypeID="0x010100ED16CBA8B2AE6E4AAF509A070AF2F711009BB60A1CA9F63243BAA39512DD6123A8" ma:contentTypeVersion="5" ma:contentTypeDescription="Use to apply to department site document libraries" ma:contentTypeScope="" ma:versionID="f527b2b261a59da1808b973bc81177cf">
  <xsd:schema xmlns:xsd="http://www.w3.org/2001/XMLSchema" xmlns:xs="http://www.w3.org/2001/XMLSchema" xmlns:p="http://schemas.microsoft.com/office/2006/metadata/properties" xmlns:ns2="01f43c01-a61a-48a5-85bd-ec04448c704b" targetNamespace="http://schemas.microsoft.com/office/2006/metadata/properties" ma:root="true" ma:fieldsID="db60e6a473108e51ed9fab1e4211e695" ns2:_="">
    <xsd:import namespace="01f43c01-a61a-48a5-85bd-ec04448c704b"/>
    <xsd:element name="properties">
      <xsd:complexType>
        <xsd:sequence>
          <xsd:element name="documentManagement">
            <xsd:complexType>
              <xsd:all>
                <xsd:element ref="ns2:m60aae2755284a3a93a4a2e68ff6fb14" minOccurs="0"/>
                <xsd:element ref="ns2:TaxCatchAll" minOccurs="0"/>
                <xsd:element ref="ns2:TaxCatchAllLabel" minOccurs="0"/>
                <xsd:element ref="ns2:maaa3ad357bb4e45abc524642e3b4915" minOccurs="0"/>
                <xsd:element ref="ns2:a0175fff15f740ec93ccb7712d0099c4" minOccurs="0"/>
                <xsd:element ref="ns2:f1c5c2c6eedd4b8686e444aed4ac3e39" minOccurs="0"/>
                <xsd:element ref="ns2:DocumentAudience" minOccurs="0"/>
                <xsd:element ref="ns2:Email_x0020_Send_x0020_Date" minOccurs="0"/>
                <xsd:element ref="ns2:l5f9935a48fd46f598db26b2880fdf0b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43c01-a61a-48a5-85bd-ec04448c704b" elementFormDefault="qualified">
    <xsd:import namespace="http://schemas.microsoft.com/office/2006/documentManagement/types"/>
    <xsd:import namespace="http://schemas.microsoft.com/office/infopath/2007/PartnerControls"/>
    <xsd:element name="m60aae2755284a3a93a4a2e68ff6fb14" ma:index="8" ma:taxonomy="true" ma:internalName="m60aae2755284a3a93a4a2e68ff6fb14" ma:taxonomyFieldName="DepartmentName" ma:displayName="Department Name" ma:readOnly="false" ma:default="" ma:fieldId="{660aae27-5528-4a3a-93a4-a2e68ff6fb14}" ma:taxonomyMulti="true" ma:sspId="d94463f2-e885-4fb7-ab43-8617aaae47ea" ma:termSetId="41e97be6-cecb-4f29-af21-2adef2bcf45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5f5a576c-1562-4c0f-8fcd-1ddf0c77baa6}" ma:internalName="TaxCatchAll" ma:showField="CatchAllData" ma:web="70b40a2f-f6f8-4f50-a503-8c1c9e9800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f5a576c-1562-4c0f-8fcd-1ddf0c77baa6}" ma:internalName="TaxCatchAllLabel" ma:readOnly="true" ma:showField="CatchAllDataLabel" ma:web="70b40a2f-f6f8-4f50-a503-8c1c9e9800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aaa3ad357bb4e45abc524642e3b4915" ma:index="12" ma:taxonomy="true" ma:internalName="maaa3ad357bb4e45abc524642e3b4915" ma:taxonomyFieldName="DocumentCategory" ma:displayName="Document Category" ma:readOnly="false" ma:default="" ma:fieldId="{6aaa3ad3-57bb-4e45-abc5-24642e3b4915}" ma:taxonomyMulti="true" ma:sspId="d94463f2-e885-4fb7-ab43-8617aaae47ea" ma:termSetId="a3a8a3ce-c4c4-4505-96a9-f2f74915ae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0175fff15f740ec93ccb7712d0099c4" ma:index="14" ma:taxonomy="true" ma:internalName="a0175fff15f740ec93ccb7712d0099c4" ma:taxonomyFieldName="Region" ma:displayName="Region" ma:readOnly="false" ma:default="" ma:fieldId="{a0175fff-15f7-40ec-93cc-b7712d0099c4}" ma:taxonomyMulti="true" ma:sspId="d94463f2-e885-4fb7-ab43-8617aaae47ea" ma:termSetId="348ca6e8-5473-4630-be8c-bbcfb7adb16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1c5c2c6eedd4b8686e444aed4ac3e39" ma:index="16" ma:taxonomy="true" ma:internalName="f1c5c2c6eedd4b8686e444aed4ac3e39" ma:taxonomyFieldName="DocumentUse" ma:displayName="Document Use" ma:readOnly="false" ma:default="" ma:fieldId="{f1c5c2c6-eedd-4b86-86e4-44aed4ac3e39}" ma:taxonomyMulti="true" ma:sspId="d94463f2-e885-4fb7-ab43-8617aaae47ea" ma:termSetId="c38bf058-9efe-430b-aa3a-9559835305c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ocumentAudience" ma:index="18" nillable="true" ma:displayName="DocumentAudience" ma:default="" ma:format="Dropdown" ma:internalName="DocumentAudience">
      <xsd:simpleType>
        <xsd:restriction base="dms:Choice">
          <xsd:enumeration value="All APLL Employees"/>
          <xsd:enumeration value="People Managers"/>
          <xsd:enumeration value="HR Only"/>
        </xsd:restriction>
      </xsd:simpleType>
    </xsd:element>
    <xsd:element name="Email_x0020_Send_x0020_Date" ma:index="19" nillable="true" ma:displayName="Email Send Date" ma:default="" ma:description="Date email was originally sent" ma:format="DateOnly" ma:internalName="Email_x0020_Send_x0020_Date">
      <xsd:simpleType>
        <xsd:restriction base="dms:DateTime"/>
      </xsd:simpleType>
    </xsd:element>
    <xsd:element name="l5f9935a48fd46f598db26b2880fdf0b" ma:index="20" nillable="true" ma:taxonomy="true" ma:internalName="l5f9935a48fd46f598db26b2880fdf0b" ma:taxonomyFieldName="Countries" ma:displayName="Countries" ma:readOnly="false" ma:default="" ma:fieldId="{55f9935a-48fd-46f5-98db-26b2880fdf0b}" ma:taxonomyMulti="true" ma:sspId="d94463f2-e885-4fb7-ab43-8617aaae47ea" ma:termSetId="5fea8ba9-d4c4-43cc-8227-eb11c9ec2636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1f43c01-a61a-48a5-85bd-ec04448c704b">
      <Value>8</Value>
      <Value>10</Value>
      <Value>9</Value>
      <Value>1</Value>
    </TaxCatchAll>
    <m60aae2755284a3a93a4a2e68ff6fb14 xmlns="01f43c01-a61a-48a5-85bd-ec04448c70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</TermName>
          <TermId xmlns="http://schemas.microsoft.com/office/infopath/2007/PartnerControls">effc61e5-6ac3-43c3-ba17-5a4bdbd21353</TermId>
        </TermInfo>
      </Terms>
    </m60aae2755284a3a93a4a2e68ff6fb14>
    <Email_x0020_Send_x0020_Date xmlns="01f43c01-a61a-48a5-85bd-ec04448c704b" xsi:nil="true"/>
    <a0175fff15f740ec93ccb7712d0099c4 xmlns="01f43c01-a61a-48a5-85bd-ec04448c70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c341ad4f-fc57-4ef6-ba3b-448260bfc50f</TermId>
        </TermInfo>
      </Terms>
    </a0175fff15f740ec93ccb7712d0099c4>
    <l5f9935a48fd46f598db26b2880fdf0b xmlns="01f43c01-a61a-48a5-85bd-ec04448c704b">
      <Terms xmlns="http://schemas.microsoft.com/office/infopath/2007/PartnerControls"/>
    </l5f9935a48fd46f598db26b2880fdf0b>
    <maaa3ad357bb4e45abc524642e3b4915 xmlns="01f43c01-a61a-48a5-85bd-ec04448c70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eaedacfa-8a60-4366-a51a-3b69efcf776d</TermId>
        </TermInfo>
      </Terms>
    </maaa3ad357bb4e45abc524642e3b4915>
    <DocumentAudience xmlns="01f43c01-a61a-48a5-85bd-ec04448c704b" xsi:nil="true"/>
    <f1c5c2c6eedd4b8686e444aed4ac3e39 xmlns="01f43c01-a61a-48a5-85bd-ec04448c70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</TermName>
          <TermId xmlns="http://schemas.microsoft.com/office/infopath/2007/PartnerControls">e520de0e-3ebf-4674-982e-9e6911b0c2c1</TermId>
        </TermInfo>
      </Terms>
    </f1c5c2c6eedd4b8686e444aed4ac3e39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d94463f2-e885-4fb7-ab43-8617aaae47ea" ContentTypeId="0x010100ED16CBA8B2AE6E4AAF509A070AF2F711" PreviousValue="false"/>
</file>

<file path=customXml/itemProps1.xml><?xml version="1.0" encoding="utf-8"?>
<ds:datastoreItem xmlns:ds="http://schemas.openxmlformats.org/officeDocument/2006/customXml" ds:itemID="{02155A96-EFA9-4F75-A518-7FA14C69EB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f43c01-a61a-48a5-85bd-ec04448c70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7F899-25AB-49CE-BA3D-FBC1E9F24C85}">
  <ds:schemaRefs>
    <ds:schemaRef ds:uri="http://schemas.microsoft.com/office/2006/documentManagement/types"/>
    <ds:schemaRef ds:uri="01f43c01-a61a-48a5-85bd-ec04448c704b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767798F-1128-41C7-B070-B378289205C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16DB1B8-AEC5-4998-BFDC-F2DF6F33B118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LL_PPT_Template</Template>
  <TotalTime>438</TotalTime>
  <Words>277</Words>
  <Application>Microsoft Office PowerPoint</Application>
  <PresentationFormat>Widescreen</PresentationFormat>
  <Paragraphs>42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ptos</vt:lpstr>
      <vt:lpstr>Arial</vt:lpstr>
      <vt:lpstr>Calibri</vt:lpstr>
      <vt:lpstr>Calibri Light</vt:lpstr>
      <vt:lpstr>Courier New</vt:lpstr>
      <vt:lpstr>Wingdings</vt:lpstr>
      <vt:lpstr>APLL Branded Template Slides</vt:lpstr>
      <vt:lpstr>APLL Standard Template Slides</vt:lpstr>
      <vt:lpstr>think-cell Slide</vt:lpstr>
      <vt:lpstr>PowerPoint Presentation</vt:lpstr>
      <vt:lpstr>Prerequisites</vt:lpstr>
      <vt:lpstr>Steps to Follow</vt:lpstr>
      <vt:lpstr>Step 1: Your home page may  look like below</vt:lpstr>
      <vt:lpstr>Step 2: Paste the assignment URL and press enter</vt:lpstr>
      <vt:lpstr>Step 3: Identify your email from the roster</vt:lpstr>
      <vt:lpstr>Step 4: Click and accept the assignment</vt:lpstr>
      <vt:lpstr>Step 5: Ignore the access error shown below</vt:lpstr>
      <vt:lpstr>Step 6: Click top right profile icon</vt:lpstr>
      <vt:lpstr>Step 7: Go to your org page</vt:lpstr>
      <vt:lpstr>Step 8: Accept the invite from the org and then for assignment</vt:lpstr>
      <vt:lpstr>Step 9: Your repo is now created</vt:lpstr>
      <vt:lpstr>In case of issu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umarakrishnan, Seetharaman</dc:creator>
  <cp:lastModifiedBy>Kumarakrishnan, Seetharaman</cp:lastModifiedBy>
  <cp:revision>9</cp:revision>
  <dcterms:created xsi:type="dcterms:W3CDTF">2026-01-29T08:58:35Z</dcterms:created>
  <dcterms:modified xsi:type="dcterms:W3CDTF">2026-02-03T11:4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policyId">
    <vt:lpwstr>0x0101001B321630632ECE4D8FEC154F2B869874|-369733750</vt:lpwstr>
  </property>
  <property fmtid="{D5CDD505-2E9C-101B-9397-08002B2CF9AE}" pid="3" name="ContentTypeId">
    <vt:lpwstr>0x010100ED16CBA8B2AE6E4AAF509A070AF2F711009BB60A1CA9F63243BAA39512DD6123A8</vt:lpwstr>
  </property>
  <property fmtid="{D5CDD505-2E9C-101B-9397-08002B2CF9AE}" pid="4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  <property fmtid="{D5CDD505-2E9C-101B-9397-08002B2CF9AE}" pid="5" name="MediaServiceImageTags">
    <vt:lpwstr/>
  </property>
  <property fmtid="{D5CDD505-2E9C-101B-9397-08002B2CF9AE}" pid="6" name="Countries">
    <vt:lpwstr/>
  </property>
  <property fmtid="{D5CDD505-2E9C-101B-9397-08002B2CF9AE}" pid="7" name="DocumentUse">
    <vt:lpwstr>10;#Internal|e520de0e-3ebf-4674-982e-9e6911b0c2c1</vt:lpwstr>
  </property>
  <property fmtid="{D5CDD505-2E9C-101B-9397-08002B2CF9AE}" pid="8" name="Region">
    <vt:lpwstr>9;#Global|c341ad4f-fc57-4ef6-ba3b-448260bfc50f</vt:lpwstr>
  </property>
  <property fmtid="{D5CDD505-2E9C-101B-9397-08002B2CF9AE}" pid="9" name="lcf76f155ced4ddcb4097134ff3c332f">
    <vt:lpwstr/>
  </property>
  <property fmtid="{D5CDD505-2E9C-101B-9397-08002B2CF9AE}" pid="10" name="DepartmentName">
    <vt:lpwstr>1;#Marketing|effc61e5-6ac3-43c3-ba17-5a4bdbd21353</vt:lpwstr>
  </property>
  <property fmtid="{D5CDD505-2E9C-101B-9397-08002B2CF9AE}" pid="11" name="DocumentCategory">
    <vt:lpwstr>8;#Template|eaedacfa-8a60-4366-a51a-3b69efcf776d</vt:lpwstr>
  </property>
</Properties>
</file>